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87" r:id="rId1"/>
    <p:sldMasterId id="2147483693" r:id="rId2"/>
    <p:sldMasterId id="2147483706" r:id="rId3"/>
    <p:sldMasterId id="2147483759" r:id="rId4"/>
    <p:sldMasterId id="2147483900" r:id="rId5"/>
  </p:sldMasterIdLst>
  <p:notesMasterIdLst>
    <p:notesMasterId r:id="rId28"/>
  </p:notesMasterIdLst>
  <p:handoutMasterIdLst>
    <p:handoutMasterId r:id="rId29"/>
  </p:handoutMasterIdLst>
  <p:sldIdLst>
    <p:sldId id="3677" r:id="rId6"/>
    <p:sldId id="5458" r:id="rId7"/>
    <p:sldId id="3574" r:id="rId8"/>
    <p:sldId id="3749" r:id="rId9"/>
    <p:sldId id="6495" r:id="rId10"/>
    <p:sldId id="3750" r:id="rId11"/>
    <p:sldId id="3752" r:id="rId12"/>
    <p:sldId id="5459" r:id="rId13"/>
    <p:sldId id="6494" r:id="rId14"/>
    <p:sldId id="6489" r:id="rId15"/>
    <p:sldId id="3558" r:id="rId16"/>
    <p:sldId id="6490" r:id="rId17"/>
    <p:sldId id="6491" r:id="rId18"/>
    <p:sldId id="6498" r:id="rId19"/>
    <p:sldId id="6472" r:id="rId20"/>
    <p:sldId id="3894" r:id="rId21"/>
    <p:sldId id="6499" r:id="rId22"/>
    <p:sldId id="6471" r:id="rId23"/>
    <p:sldId id="6496" r:id="rId24"/>
    <p:sldId id="6493" r:id="rId25"/>
    <p:sldId id="6479" r:id="rId26"/>
    <p:sldId id="6497" r:id="rId27"/>
  </p:sldIdLst>
  <p:sldSz cx="9144000" cy="6858000" type="screen4x3"/>
  <p:notesSz cx="6797675" cy="9872663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8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8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8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8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8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06">
          <p15:clr>
            <a:srgbClr val="A4A3A4"/>
          </p15:clr>
        </p15:guide>
        <p15:guide id="2" orient="horz" pos="1234">
          <p15:clr>
            <a:srgbClr val="A4A3A4"/>
          </p15:clr>
        </p15:guide>
        <p15:guide id="3" orient="horz" pos="4211">
          <p15:clr>
            <a:srgbClr val="A4A3A4"/>
          </p15:clr>
        </p15:guide>
        <p15:guide id="4" orient="horz" pos="816">
          <p15:clr>
            <a:srgbClr val="A4A3A4"/>
          </p15:clr>
        </p15:guide>
        <p15:guide id="5" orient="horz" pos="512">
          <p15:clr>
            <a:srgbClr val="A4A3A4"/>
          </p15:clr>
        </p15:guide>
        <p15:guide id="6" orient="horz" pos="4149">
          <p15:clr>
            <a:srgbClr val="A4A3A4"/>
          </p15:clr>
        </p15:guide>
        <p15:guide id="7" orient="horz" pos="675">
          <p15:clr>
            <a:srgbClr val="A4A3A4"/>
          </p15:clr>
        </p15:guide>
        <p15:guide id="8" pos="2882">
          <p15:clr>
            <a:srgbClr val="A4A3A4"/>
          </p15:clr>
        </p15:guide>
        <p15:guide id="9" pos="563">
          <p15:clr>
            <a:srgbClr val="A4A3A4"/>
          </p15:clr>
        </p15:guide>
        <p15:guide id="10" pos="5507">
          <p15:clr>
            <a:srgbClr val="A4A3A4"/>
          </p15:clr>
        </p15:guide>
        <p15:guide id="11" pos="288">
          <p15:clr>
            <a:srgbClr val="A4A3A4"/>
          </p15:clr>
        </p15:guide>
        <p15:guide id="12" pos="4283">
          <p15:clr>
            <a:srgbClr val="A4A3A4"/>
          </p15:clr>
        </p15:guide>
        <p15:guide id="13" pos="529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orient="horz" pos="4769" userDrawn="1">
          <p15:clr>
            <a:srgbClr val="A4A3A4"/>
          </p15:clr>
        </p15:guide>
        <p15:guide id="3" orient="horz" pos="505" userDrawn="1">
          <p15:clr>
            <a:srgbClr val="A4A3A4"/>
          </p15:clr>
        </p15:guide>
        <p15:guide id="4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95"/>
    <a:srgbClr val="003A6F"/>
    <a:srgbClr val="0E487D"/>
    <a:srgbClr val="10253F"/>
    <a:srgbClr val="005E30"/>
    <a:srgbClr val="7F7F7F"/>
    <a:srgbClr val="800000"/>
    <a:srgbClr val="00583B"/>
    <a:srgbClr val="006130"/>
    <a:srgbClr val="003A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72" autoAdjust="0"/>
    <p:restoredTop sz="96807" autoAdjust="0"/>
  </p:normalViewPr>
  <p:slideViewPr>
    <p:cSldViewPr snapToGrid="0" showGuides="1">
      <p:cViewPr>
        <p:scale>
          <a:sx n="106" d="100"/>
          <a:sy n="106" d="100"/>
        </p:scale>
        <p:origin x="1854" y="108"/>
      </p:cViewPr>
      <p:guideLst>
        <p:guide orient="horz" pos="406"/>
        <p:guide orient="horz" pos="1234"/>
        <p:guide orient="horz" pos="4211"/>
        <p:guide orient="horz" pos="816"/>
        <p:guide orient="horz" pos="512"/>
        <p:guide orient="horz" pos="4149"/>
        <p:guide orient="horz" pos="675"/>
        <p:guide pos="2882"/>
        <p:guide pos="563"/>
        <p:guide pos="5507"/>
        <p:guide pos="288"/>
        <p:guide pos="4283"/>
        <p:guide pos="52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-3102" y="-108"/>
      </p:cViewPr>
      <p:guideLst>
        <p:guide orient="horz" pos="3108"/>
        <p:guide orient="horz" pos="4769"/>
        <p:guide orient="horz" pos="505"/>
        <p:guide pos="2141"/>
      </p:guideLst>
    </p:cSldViewPr>
  </p:notesViewPr>
  <p:gridSpacing cx="457200" cy="457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F005B83-01C1-4CA4-AA44-98EEBEA8B88F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AU"/>
        </a:p>
      </dgm:t>
    </dgm:pt>
    <dgm:pt modelId="{3D0BE750-1E45-4D76-A2B9-C5FCA937A8A3}">
      <dgm:prSet phldrT="[Text]"/>
      <dgm:spPr/>
      <dgm:t>
        <a:bodyPr/>
        <a:lstStyle/>
        <a:p>
          <a:r>
            <a:rPr lang="en-AU" dirty="0"/>
            <a:t>Respirable Dust</a:t>
          </a:r>
        </a:p>
      </dgm:t>
    </dgm:pt>
    <dgm:pt modelId="{1094E5AF-D6CD-4FEF-91BB-F05D61DCC215}" type="parTrans" cxnId="{215F948F-B8C5-411B-A153-75D6369D207C}">
      <dgm:prSet/>
      <dgm:spPr/>
      <dgm:t>
        <a:bodyPr/>
        <a:lstStyle/>
        <a:p>
          <a:endParaRPr lang="en-AU"/>
        </a:p>
      </dgm:t>
    </dgm:pt>
    <dgm:pt modelId="{04FDC594-2C1A-4A01-8613-C891D3467555}" type="sibTrans" cxnId="{215F948F-B8C5-411B-A153-75D6369D207C}">
      <dgm:prSet/>
      <dgm:spPr/>
      <dgm:t>
        <a:bodyPr/>
        <a:lstStyle/>
        <a:p>
          <a:endParaRPr lang="en-AU"/>
        </a:p>
      </dgm:t>
    </dgm:pt>
    <dgm:pt modelId="{969D8270-80EA-4206-85AA-3D0403309D57}">
      <dgm:prSet phldrT="[Text]"/>
      <dgm:spPr/>
      <dgm:t>
        <a:bodyPr/>
        <a:lstStyle/>
        <a:p>
          <a:r>
            <a:rPr lang="en-AU" dirty="0"/>
            <a:t>130 results</a:t>
          </a:r>
        </a:p>
      </dgm:t>
    </dgm:pt>
    <dgm:pt modelId="{20B0843A-29D9-4F6C-BBB3-CDFF49C35A08}" type="parTrans" cxnId="{8F264922-BA32-42C9-8D6C-65BEC1E67744}">
      <dgm:prSet/>
      <dgm:spPr/>
      <dgm:t>
        <a:bodyPr/>
        <a:lstStyle/>
        <a:p>
          <a:endParaRPr lang="en-AU"/>
        </a:p>
      </dgm:t>
    </dgm:pt>
    <dgm:pt modelId="{101158C8-017F-47E3-A08C-6E8B4F025268}" type="sibTrans" cxnId="{8F264922-BA32-42C9-8D6C-65BEC1E67744}">
      <dgm:prSet/>
      <dgm:spPr/>
      <dgm:t>
        <a:bodyPr/>
        <a:lstStyle/>
        <a:p>
          <a:endParaRPr lang="en-AU"/>
        </a:p>
      </dgm:t>
    </dgm:pt>
    <dgm:pt modelId="{4F0BFDBF-5644-400B-9E11-3FC36FC9EE73}">
      <dgm:prSet phldrT="[Text]"/>
      <dgm:spPr/>
      <dgm:t>
        <a:bodyPr/>
        <a:lstStyle/>
        <a:p>
          <a:r>
            <a:rPr lang="en-AU" dirty="0"/>
            <a:t>0 Exceedances</a:t>
          </a:r>
        </a:p>
      </dgm:t>
    </dgm:pt>
    <dgm:pt modelId="{3FE5DBE7-7E34-47D3-8E5A-C454EDB2407D}" type="parTrans" cxnId="{71890398-75BD-4734-BC67-AFF8BF837978}">
      <dgm:prSet/>
      <dgm:spPr/>
      <dgm:t>
        <a:bodyPr/>
        <a:lstStyle/>
        <a:p>
          <a:endParaRPr lang="en-AU"/>
        </a:p>
      </dgm:t>
    </dgm:pt>
    <dgm:pt modelId="{0F324FF5-3046-4F80-B859-E77F4AA81F90}" type="sibTrans" cxnId="{71890398-75BD-4734-BC67-AFF8BF837978}">
      <dgm:prSet/>
      <dgm:spPr/>
      <dgm:t>
        <a:bodyPr/>
        <a:lstStyle/>
        <a:p>
          <a:endParaRPr lang="en-AU"/>
        </a:p>
      </dgm:t>
    </dgm:pt>
    <dgm:pt modelId="{6760B0AE-875F-4502-A420-BBD92F462835}">
      <dgm:prSet phldrT="[Text]"/>
      <dgm:spPr/>
      <dgm:t>
        <a:bodyPr/>
        <a:lstStyle/>
        <a:p>
          <a:r>
            <a:rPr lang="en-AU" dirty="0"/>
            <a:t>Respirable Crystalline Silica</a:t>
          </a:r>
        </a:p>
      </dgm:t>
    </dgm:pt>
    <dgm:pt modelId="{DEEE16FD-AA4C-44E2-96CC-0BE30078F742}" type="parTrans" cxnId="{1CCB17BE-6810-4508-8FAE-B1D26D510ACC}">
      <dgm:prSet/>
      <dgm:spPr/>
      <dgm:t>
        <a:bodyPr/>
        <a:lstStyle/>
        <a:p>
          <a:endParaRPr lang="en-AU"/>
        </a:p>
      </dgm:t>
    </dgm:pt>
    <dgm:pt modelId="{2AF80BCB-B512-4D24-B587-471FFD5A9F50}" type="sibTrans" cxnId="{1CCB17BE-6810-4508-8FAE-B1D26D510ACC}">
      <dgm:prSet/>
      <dgm:spPr/>
      <dgm:t>
        <a:bodyPr/>
        <a:lstStyle/>
        <a:p>
          <a:endParaRPr lang="en-AU"/>
        </a:p>
      </dgm:t>
    </dgm:pt>
    <dgm:pt modelId="{E869475D-63D3-4899-AF0E-9B17B88DCE19}">
      <dgm:prSet phldrT="[Text]"/>
      <dgm:spPr/>
      <dgm:t>
        <a:bodyPr/>
        <a:lstStyle/>
        <a:p>
          <a:r>
            <a:rPr lang="en-AU" dirty="0"/>
            <a:t>125 results</a:t>
          </a:r>
        </a:p>
      </dgm:t>
    </dgm:pt>
    <dgm:pt modelId="{C87709D4-B2FB-4BE0-B34E-B4BFBF8285F0}" type="parTrans" cxnId="{49CCD16B-FCEE-4A62-8355-E06C175D220E}">
      <dgm:prSet/>
      <dgm:spPr/>
      <dgm:t>
        <a:bodyPr/>
        <a:lstStyle/>
        <a:p>
          <a:endParaRPr lang="en-AU"/>
        </a:p>
      </dgm:t>
    </dgm:pt>
    <dgm:pt modelId="{EE6EDDCD-3A16-443A-A651-8C1C40007C9A}" type="sibTrans" cxnId="{49CCD16B-FCEE-4A62-8355-E06C175D220E}">
      <dgm:prSet/>
      <dgm:spPr/>
      <dgm:t>
        <a:bodyPr/>
        <a:lstStyle/>
        <a:p>
          <a:endParaRPr lang="en-AU"/>
        </a:p>
      </dgm:t>
    </dgm:pt>
    <dgm:pt modelId="{F786DA26-3951-4663-ACDC-9CC25236F5D0}">
      <dgm:prSet phldrT="[Text]"/>
      <dgm:spPr/>
      <dgm:t>
        <a:bodyPr/>
        <a:lstStyle/>
        <a:p>
          <a:r>
            <a:rPr lang="en-AU" dirty="0"/>
            <a:t>28 Exceedances</a:t>
          </a:r>
        </a:p>
      </dgm:t>
    </dgm:pt>
    <dgm:pt modelId="{3975FE41-1031-4B43-9AD4-928195EF9C71}" type="parTrans" cxnId="{ED90A343-E8D7-4E67-AC94-28051A3A7F92}">
      <dgm:prSet/>
      <dgm:spPr/>
      <dgm:t>
        <a:bodyPr/>
        <a:lstStyle/>
        <a:p>
          <a:endParaRPr lang="en-AU"/>
        </a:p>
      </dgm:t>
    </dgm:pt>
    <dgm:pt modelId="{D6C76A43-65D1-4154-A9D0-8C2ED5290ADD}" type="sibTrans" cxnId="{ED90A343-E8D7-4E67-AC94-28051A3A7F92}">
      <dgm:prSet/>
      <dgm:spPr/>
      <dgm:t>
        <a:bodyPr/>
        <a:lstStyle/>
        <a:p>
          <a:endParaRPr lang="en-AU"/>
        </a:p>
      </dgm:t>
    </dgm:pt>
    <dgm:pt modelId="{191DA34E-4E02-45D4-BB4C-B7AF7019F0B7}">
      <dgm:prSet phldrT="[Text]"/>
      <dgm:spPr/>
      <dgm:t>
        <a:bodyPr/>
        <a:lstStyle/>
        <a:p>
          <a:r>
            <a:rPr lang="en-AU" dirty="0"/>
            <a:t>Inhalable Dust</a:t>
          </a:r>
        </a:p>
      </dgm:t>
    </dgm:pt>
    <dgm:pt modelId="{504A3952-B10E-481E-B961-286945A6395E}" type="parTrans" cxnId="{E56ACD2D-9D5C-4746-9F7B-DF7EA4D2C240}">
      <dgm:prSet/>
      <dgm:spPr/>
      <dgm:t>
        <a:bodyPr/>
        <a:lstStyle/>
        <a:p>
          <a:endParaRPr lang="en-AU"/>
        </a:p>
      </dgm:t>
    </dgm:pt>
    <dgm:pt modelId="{445A9000-8A9A-4B0D-9F36-8EBAC769AE14}" type="sibTrans" cxnId="{E56ACD2D-9D5C-4746-9F7B-DF7EA4D2C240}">
      <dgm:prSet/>
      <dgm:spPr/>
      <dgm:t>
        <a:bodyPr/>
        <a:lstStyle/>
        <a:p>
          <a:endParaRPr lang="en-AU"/>
        </a:p>
      </dgm:t>
    </dgm:pt>
    <dgm:pt modelId="{AB3685BF-51DC-4A7A-ABE6-3EAFBE334B76}">
      <dgm:prSet phldrT="[Text]"/>
      <dgm:spPr/>
      <dgm:t>
        <a:bodyPr/>
        <a:lstStyle/>
        <a:p>
          <a:r>
            <a:rPr lang="en-AU" dirty="0"/>
            <a:t>38 results</a:t>
          </a:r>
        </a:p>
      </dgm:t>
    </dgm:pt>
    <dgm:pt modelId="{F19987DA-0BA2-4020-BDD7-5E8180454B6E}" type="parTrans" cxnId="{FCC25ED3-49E0-44BB-9549-D057DA652689}">
      <dgm:prSet/>
      <dgm:spPr/>
      <dgm:t>
        <a:bodyPr/>
        <a:lstStyle/>
        <a:p>
          <a:endParaRPr lang="en-AU"/>
        </a:p>
      </dgm:t>
    </dgm:pt>
    <dgm:pt modelId="{87AA948E-0A52-46E5-B610-5954438A5611}" type="sibTrans" cxnId="{FCC25ED3-49E0-44BB-9549-D057DA652689}">
      <dgm:prSet/>
      <dgm:spPr/>
      <dgm:t>
        <a:bodyPr/>
        <a:lstStyle/>
        <a:p>
          <a:endParaRPr lang="en-AU"/>
        </a:p>
      </dgm:t>
    </dgm:pt>
    <dgm:pt modelId="{055FE655-5CA8-4139-AF99-34426E403432}">
      <dgm:prSet phldrT="[Text]"/>
      <dgm:spPr/>
      <dgm:t>
        <a:bodyPr/>
        <a:lstStyle/>
        <a:p>
          <a:r>
            <a:rPr lang="en-AU" dirty="0"/>
            <a:t>0 Exceedance </a:t>
          </a:r>
        </a:p>
      </dgm:t>
    </dgm:pt>
    <dgm:pt modelId="{1798295E-EEE8-4906-B711-73731F173ECE}" type="parTrans" cxnId="{15E141EA-18B3-467B-BD36-5624570263FC}">
      <dgm:prSet/>
      <dgm:spPr/>
      <dgm:t>
        <a:bodyPr/>
        <a:lstStyle/>
        <a:p>
          <a:endParaRPr lang="en-AU"/>
        </a:p>
      </dgm:t>
    </dgm:pt>
    <dgm:pt modelId="{29F42420-6742-4826-B682-C3F0FD1DF4FD}" type="sibTrans" cxnId="{15E141EA-18B3-467B-BD36-5624570263FC}">
      <dgm:prSet/>
      <dgm:spPr/>
      <dgm:t>
        <a:bodyPr/>
        <a:lstStyle/>
        <a:p>
          <a:endParaRPr lang="en-AU"/>
        </a:p>
      </dgm:t>
    </dgm:pt>
    <dgm:pt modelId="{12772D23-2DD1-4319-80D9-F637C755CEC0}" type="pres">
      <dgm:prSet presAssocID="{1F005B83-01C1-4CA4-AA44-98EEBEA8B88F}" presName="Name0" presStyleCnt="0">
        <dgm:presLayoutVars>
          <dgm:dir/>
          <dgm:animLvl val="lvl"/>
          <dgm:resizeHandles val="exact"/>
        </dgm:presLayoutVars>
      </dgm:prSet>
      <dgm:spPr/>
    </dgm:pt>
    <dgm:pt modelId="{1ECA38C4-FCAB-4B46-96F7-2B29F7F546B7}" type="pres">
      <dgm:prSet presAssocID="{3D0BE750-1E45-4D76-A2B9-C5FCA937A8A3}" presName="linNode" presStyleCnt="0"/>
      <dgm:spPr/>
    </dgm:pt>
    <dgm:pt modelId="{A3033584-D113-4A4E-88CF-7FD9ADA43454}" type="pres">
      <dgm:prSet presAssocID="{3D0BE750-1E45-4D76-A2B9-C5FCA937A8A3}" presName="parentText" presStyleLbl="node1" presStyleIdx="0" presStyleCnt="3">
        <dgm:presLayoutVars>
          <dgm:chMax val="1"/>
          <dgm:bulletEnabled val="1"/>
        </dgm:presLayoutVars>
      </dgm:prSet>
      <dgm:spPr/>
    </dgm:pt>
    <dgm:pt modelId="{36C811C6-67E4-4F90-B031-0FA53884EF80}" type="pres">
      <dgm:prSet presAssocID="{3D0BE750-1E45-4D76-A2B9-C5FCA937A8A3}" presName="descendantText" presStyleLbl="alignAccFollowNode1" presStyleIdx="0" presStyleCnt="3">
        <dgm:presLayoutVars>
          <dgm:bulletEnabled val="1"/>
        </dgm:presLayoutVars>
      </dgm:prSet>
      <dgm:spPr/>
    </dgm:pt>
    <dgm:pt modelId="{79DF8B8D-78E7-436F-B300-E21594133E87}" type="pres">
      <dgm:prSet presAssocID="{04FDC594-2C1A-4A01-8613-C891D3467555}" presName="sp" presStyleCnt="0"/>
      <dgm:spPr/>
    </dgm:pt>
    <dgm:pt modelId="{E34A76F8-23EC-4BAA-B8CA-6892544D28E7}" type="pres">
      <dgm:prSet presAssocID="{6760B0AE-875F-4502-A420-BBD92F462835}" presName="linNode" presStyleCnt="0"/>
      <dgm:spPr/>
    </dgm:pt>
    <dgm:pt modelId="{8950A684-F4D7-472E-833E-A41D95319D4D}" type="pres">
      <dgm:prSet presAssocID="{6760B0AE-875F-4502-A420-BBD92F462835}" presName="parentText" presStyleLbl="node1" presStyleIdx="1" presStyleCnt="3">
        <dgm:presLayoutVars>
          <dgm:chMax val="1"/>
          <dgm:bulletEnabled val="1"/>
        </dgm:presLayoutVars>
      </dgm:prSet>
      <dgm:spPr/>
    </dgm:pt>
    <dgm:pt modelId="{72E2B578-5E50-48B3-AF38-CA93C6FB71C8}" type="pres">
      <dgm:prSet presAssocID="{6760B0AE-875F-4502-A420-BBD92F462835}" presName="descendantText" presStyleLbl="alignAccFollowNode1" presStyleIdx="1" presStyleCnt="3">
        <dgm:presLayoutVars>
          <dgm:bulletEnabled val="1"/>
        </dgm:presLayoutVars>
      </dgm:prSet>
      <dgm:spPr/>
    </dgm:pt>
    <dgm:pt modelId="{BCBF1F7F-EEEB-48C9-A8FA-48AF19E2D301}" type="pres">
      <dgm:prSet presAssocID="{2AF80BCB-B512-4D24-B587-471FFD5A9F50}" presName="sp" presStyleCnt="0"/>
      <dgm:spPr/>
    </dgm:pt>
    <dgm:pt modelId="{1D8A53CF-C588-4AA3-8089-C96B39A347CB}" type="pres">
      <dgm:prSet presAssocID="{191DA34E-4E02-45D4-BB4C-B7AF7019F0B7}" presName="linNode" presStyleCnt="0"/>
      <dgm:spPr/>
    </dgm:pt>
    <dgm:pt modelId="{328BA089-D585-4E8F-A144-8FBC82E6961E}" type="pres">
      <dgm:prSet presAssocID="{191DA34E-4E02-45D4-BB4C-B7AF7019F0B7}" presName="parentText" presStyleLbl="node1" presStyleIdx="2" presStyleCnt="3">
        <dgm:presLayoutVars>
          <dgm:chMax val="1"/>
          <dgm:bulletEnabled val="1"/>
        </dgm:presLayoutVars>
      </dgm:prSet>
      <dgm:spPr/>
    </dgm:pt>
    <dgm:pt modelId="{A3A63045-C713-4BC8-BE85-9D3EA6BCA574}" type="pres">
      <dgm:prSet presAssocID="{191DA34E-4E02-45D4-BB4C-B7AF7019F0B7}" presName="descendantText" presStyleLbl="alignAccFollowNode1" presStyleIdx="2" presStyleCnt="3">
        <dgm:presLayoutVars>
          <dgm:bulletEnabled val="1"/>
        </dgm:presLayoutVars>
      </dgm:prSet>
      <dgm:spPr/>
    </dgm:pt>
  </dgm:ptLst>
  <dgm:cxnLst>
    <dgm:cxn modelId="{D5832401-95D7-4E59-B33D-91B426A7778B}" type="presOf" srcId="{F786DA26-3951-4663-ACDC-9CC25236F5D0}" destId="{72E2B578-5E50-48B3-AF38-CA93C6FB71C8}" srcOrd="0" destOrd="1" presId="urn:microsoft.com/office/officeart/2005/8/layout/vList5"/>
    <dgm:cxn modelId="{5DE92E0E-8462-4FF8-86D1-F8E3FA7A8AE9}" type="presOf" srcId="{E869475D-63D3-4899-AF0E-9B17B88DCE19}" destId="{72E2B578-5E50-48B3-AF38-CA93C6FB71C8}" srcOrd="0" destOrd="0" presId="urn:microsoft.com/office/officeart/2005/8/layout/vList5"/>
    <dgm:cxn modelId="{8F264922-BA32-42C9-8D6C-65BEC1E67744}" srcId="{3D0BE750-1E45-4D76-A2B9-C5FCA937A8A3}" destId="{969D8270-80EA-4206-85AA-3D0403309D57}" srcOrd="0" destOrd="0" parTransId="{20B0843A-29D9-4F6C-BBB3-CDFF49C35A08}" sibTransId="{101158C8-017F-47E3-A08C-6E8B4F025268}"/>
    <dgm:cxn modelId="{E56ACD2D-9D5C-4746-9F7B-DF7EA4D2C240}" srcId="{1F005B83-01C1-4CA4-AA44-98EEBEA8B88F}" destId="{191DA34E-4E02-45D4-BB4C-B7AF7019F0B7}" srcOrd="2" destOrd="0" parTransId="{504A3952-B10E-481E-B961-286945A6395E}" sibTransId="{445A9000-8A9A-4B0D-9F36-8EBAC769AE14}"/>
    <dgm:cxn modelId="{9317DB5E-8756-4B28-8A75-B15886049774}" type="presOf" srcId="{1F005B83-01C1-4CA4-AA44-98EEBEA8B88F}" destId="{12772D23-2DD1-4319-80D9-F637C755CEC0}" srcOrd="0" destOrd="0" presId="urn:microsoft.com/office/officeart/2005/8/layout/vList5"/>
    <dgm:cxn modelId="{ED90A343-E8D7-4E67-AC94-28051A3A7F92}" srcId="{6760B0AE-875F-4502-A420-BBD92F462835}" destId="{F786DA26-3951-4663-ACDC-9CC25236F5D0}" srcOrd="1" destOrd="0" parTransId="{3975FE41-1031-4B43-9AD4-928195EF9C71}" sibTransId="{D6C76A43-65D1-4154-A9D0-8C2ED5290ADD}"/>
    <dgm:cxn modelId="{766AAB68-3177-4363-9EF9-A374A3462376}" type="presOf" srcId="{AB3685BF-51DC-4A7A-ABE6-3EAFBE334B76}" destId="{A3A63045-C713-4BC8-BE85-9D3EA6BCA574}" srcOrd="0" destOrd="0" presId="urn:microsoft.com/office/officeart/2005/8/layout/vList5"/>
    <dgm:cxn modelId="{49CCD16B-FCEE-4A62-8355-E06C175D220E}" srcId="{6760B0AE-875F-4502-A420-BBD92F462835}" destId="{E869475D-63D3-4899-AF0E-9B17B88DCE19}" srcOrd="0" destOrd="0" parTransId="{C87709D4-B2FB-4BE0-B34E-B4BFBF8285F0}" sibTransId="{EE6EDDCD-3A16-443A-A651-8C1C40007C9A}"/>
    <dgm:cxn modelId="{9302D651-D5D6-4F1E-984C-7F50395D4ABF}" type="presOf" srcId="{191DA34E-4E02-45D4-BB4C-B7AF7019F0B7}" destId="{328BA089-D585-4E8F-A144-8FBC82E6961E}" srcOrd="0" destOrd="0" presId="urn:microsoft.com/office/officeart/2005/8/layout/vList5"/>
    <dgm:cxn modelId="{215F948F-B8C5-411B-A153-75D6369D207C}" srcId="{1F005B83-01C1-4CA4-AA44-98EEBEA8B88F}" destId="{3D0BE750-1E45-4D76-A2B9-C5FCA937A8A3}" srcOrd="0" destOrd="0" parTransId="{1094E5AF-D6CD-4FEF-91BB-F05D61DCC215}" sibTransId="{04FDC594-2C1A-4A01-8613-C891D3467555}"/>
    <dgm:cxn modelId="{71890398-75BD-4734-BC67-AFF8BF837978}" srcId="{3D0BE750-1E45-4D76-A2B9-C5FCA937A8A3}" destId="{4F0BFDBF-5644-400B-9E11-3FC36FC9EE73}" srcOrd="1" destOrd="0" parTransId="{3FE5DBE7-7E34-47D3-8E5A-C454EDB2407D}" sibTransId="{0F324FF5-3046-4F80-B859-E77F4AA81F90}"/>
    <dgm:cxn modelId="{9EE1469B-7379-4FE6-8932-05B393F8E55D}" type="presOf" srcId="{055FE655-5CA8-4139-AF99-34426E403432}" destId="{A3A63045-C713-4BC8-BE85-9D3EA6BCA574}" srcOrd="0" destOrd="1" presId="urn:microsoft.com/office/officeart/2005/8/layout/vList5"/>
    <dgm:cxn modelId="{1CCB17BE-6810-4508-8FAE-B1D26D510ACC}" srcId="{1F005B83-01C1-4CA4-AA44-98EEBEA8B88F}" destId="{6760B0AE-875F-4502-A420-BBD92F462835}" srcOrd="1" destOrd="0" parTransId="{DEEE16FD-AA4C-44E2-96CC-0BE30078F742}" sibTransId="{2AF80BCB-B512-4D24-B587-471FFD5A9F50}"/>
    <dgm:cxn modelId="{ED29B6BF-9FAE-45DA-A81F-9633A53C24C4}" type="presOf" srcId="{4F0BFDBF-5644-400B-9E11-3FC36FC9EE73}" destId="{36C811C6-67E4-4F90-B031-0FA53884EF80}" srcOrd="0" destOrd="1" presId="urn:microsoft.com/office/officeart/2005/8/layout/vList5"/>
    <dgm:cxn modelId="{A02EC8C6-FABC-4775-B7DF-653696D51693}" type="presOf" srcId="{3D0BE750-1E45-4D76-A2B9-C5FCA937A8A3}" destId="{A3033584-D113-4A4E-88CF-7FD9ADA43454}" srcOrd="0" destOrd="0" presId="urn:microsoft.com/office/officeart/2005/8/layout/vList5"/>
    <dgm:cxn modelId="{3CB803C7-C9A6-4833-A633-AE68FEB10A99}" type="presOf" srcId="{969D8270-80EA-4206-85AA-3D0403309D57}" destId="{36C811C6-67E4-4F90-B031-0FA53884EF80}" srcOrd="0" destOrd="0" presId="urn:microsoft.com/office/officeart/2005/8/layout/vList5"/>
    <dgm:cxn modelId="{FCC25ED3-49E0-44BB-9549-D057DA652689}" srcId="{191DA34E-4E02-45D4-BB4C-B7AF7019F0B7}" destId="{AB3685BF-51DC-4A7A-ABE6-3EAFBE334B76}" srcOrd="0" destOrd="0" parTransId="{F19987DA-0BA2-4020-BDD7-5E8180454B6E}" sibTransId="{87AA948E-0A52-46E5-B610-5954438A5611}"/>
    <dgm:cxn modelId="{18BB2FE9-06D8-4A5E-BC53-02B73881B6AE}" type="presOf" srcId="{6760B0AE-875F-4502-A420-BBD92F462835}" destId="{8950A684-F4D7-472E-833E-A41D95319D4D}" srcOrd="0" destOrd="0" presId="urn:microsoft.com/office/officeart/2005/8/layout/vList5"/>
    <dgm:cxn modelId="{15E141EA-18B3-467B-BD36-5624570263FC}" srcId="{191DA34E-4E02-45D4-BB4C-B7AF7019F0B7}" destId="{055FE655-5CA8-4139-AF99-34426E403432}" srcOrd="1" destOrd="0" parTransId="{1798295E-EEE8-4906-B711-73731F173ECE}" sibTransId="{29F42420-6742-4826-B682-C3F0FD1DF4FD}"/>
    <dgm:cxn modelId="{464C794C-6690-47E4-9C86-415841086FE5}" type="presParOf" srcId="{12772D23-2DD1-4319-80D9-F637C755CEC0}" destId="{1ECA38C4-FCAB-4B46-96F7-2B29F7F546B7}" srcOrd="0" destOrd="0" presId="urn:microsoft.com/office/officeart/2005/8/layout/vList5"/>
    <dgm:cxn modelId="{320BE743-7564-4FC1-8AC0-610777CBD36C}" type="presParOf" srcId="{1ECA38C4-FCAB-4B46-96F7-2B29F7F546B7}" destId="{A3033584-D113-4A4E-88CF-7FD9ADA43454}" srcOrd="0" destOrd="0" presId="urn:microsoft.com/office/officeart/2005/8/layout/vList5"/>
    <dgm:cxn modelId="{030B3AEC-5D8E-4A5F-9748-2E772B11688A}" type="presParOf" srcId="{1ECA38C4-FCAB-4B46-96F7-2B29F7F546B7}" destId="{36C811C6-67E4-4F90-B031-0FA53884EF80}" srcOrd="1" destOrd="0" presId="urn:microsoft.com/office/officeart/2005/8/layout/vList5"/>
    <dgm:cxn modelId="{C024B51D-3719-4A23-BD85-AAC696548C76}" type="presParOf" srcId="{12772D23-2DD1-4319-80D9-F637C755CEC0}" destId="{79DF8B8D-78E7-436F-B300-E21594133E87}" srcOrd="1" destOrd="0" presId="urn:microsoft.com/office/officeart/2005/8/layout/vList5"/>
    <dgm:cxn modelId="{D62284AE-9F3B-4D34-A3C8-C81CCC8D6779}" type="presParOf" srcId="{12772D23-2DD1-4319-80D9-F637C755CEC0}" destId="{E34A76F8-23EC-4BAA-B8CA-6892544D28E7}" srcOrd="2" destOrd="0" presId="urn:microsoft.com/office/officeart/2005/8/layout/vList5"/>
    <dgm:cxn modelId="{6F474A7A-FDF9-444C-8AE1-4468F479D754}" type="presParOf" srcId="{E34A76F8-23EC-4BAA-B8CA-6892544D28E7}" destId="{8950A684-F4D7-472E-833E-A41D95319D4D}" srcOrd="0" destOrd="0" presId="urn:microsoft.com/office/officeart/2005/8/layout/vList5"/>
    <dgm:cxn modelId="{D1B3510B-DB53-4FCB-84DB-469FA9DB2D01}" type="presParOf" srcId="{E34A76F8-23EC-4BAA-B8CA-6892544D28E7}" destId="{72E2B578-5E50-48B3-AF38-CA93C6FB71C8}" srcOrd="1" destOrd="0" presId="urn:microsoft.com/office/officeart/2005/8/layout/vList5"/>
    <dgm:cxn modelId="{D5E671E6-5E80-4F51-BC69-CF4866E6EAD1}" type="presParOf" srcId="{12772D23-2DD1-4319-80D9-F637C755CEC0}" destId="{BCBF1F7F-EEEB-48C9-A8FA-48AF19E2D301}" srcOrd="3" destOrd="0" presId="urn:microsoft.com/office/officeart/2005/8/layout/vList5"/>
    <dgm:cxn modelId="{6110DDCD-FA6C-4B61-A921-8EA1F28A081D}" type="presParOf" srcId="{12772D23-2DD1-4319-80D9-F637C755CEC0}" destId="{1D8A53CF-C588-4AA3-8089-C96B39A347CB}" srcOrd="4" destOrd="0" presId="urn:microsoft.com/office/officeart/2005/8/layout/vList5"/>
    <dgm:cxn modelId="{F044181A-E3FA-451F-96BB-C782E3D77919}" type="presParOf" srcId="{1D8A53CF-C588-4AA3-8089-C96B39A347CB}" destId="{328BA089-D585-4E8F-A144-8FBC82E6961E}" srcOrd="0" destOrd="0" presId="urn:microsoft.com/office/officeart/2005/8/layout/vList5"/>
    <dgm:cxn modelId="{92CCE29A-0408-4FA0-AFCF-FE4699D18A25}" type="presParOf" srcId="{1D8A53CF-C588-4AA3-8089-C96B39A347CB}" destId="{A3A63045-C713-4BC8-BE85-9D3EA6BCA574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6C811C6-67E4-4F90-B031-0FA53884EF80}">
      <dsp:nvSpPr>
        <dsp:cNvPr id="0" name=""/>
        <dsp:cNvSpPr/>
      </dsp:nvSpPr>
      <dsp:spPr>
        <a:xfrm rot="5400000">
          <a:off x="2717382" y="-804123"/>
          <a:ext cx="1212064" cy="312792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59055" rIns="118110" bIns="59055" numCol="1" spcCol="1270" anchor="ctr" anchorCtr="0">
          <a:noAutofit/>
        </a:bodyPr>
        <a:lstStyle/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3100" kern="1200" dirty="0"/>
            <a:t>130 results</a:t>
          </a:r>
        </a:p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3100" kern="1200" dirty="0"/>
            <a:t>0 Exceedances</a:t>
          </a:r>
        </a:p>
      </dsp:txBody>
      <dsp:txXfrm rot="-5400000">
        <a:off x="1759454" y="212973"/>
        <a:ext cx="3068752" cy="1093728"/>
      </dsp:txXfrm>
    </dsp:sp>
    <dsp:sp modelId="{A3033584-D113-4A4E-88CF-7FD9ADA43454}">
      <dsp:nvSpPr>
        <dsp:cNvPr id="0" name=""/>
        <dsp:cNvSpPr/>
      </dsp:nvSpPr>
      <dsp:spPr>
        <a:xfrm>
          <a:off x="0" y="2295"/>
          <a:ext cx="1759455" cy="1515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500" kern="1200" dirty="0"/>
            <a:t>Respirable Dust</a:t>
          </a:r>
        </a:p>
      </dsp:txBody>
      <dsp:txXfrm>
        <a:off x="73960" y="76255"/>
        <a:ext cx="1611535" cy="1367160"/>
      </dsp:txXfrm>
    </dsp:sp>
    <dsp:sp modelId="{72E2B578-5E50-48B3-AF38-CA93C6FB71C8}">
      <dsp:nvSpPr>
        <dsp:cNvPr id="0" name=""/>
        <dsp:cNvSpPr/>
      </dsp:nvSpPr>
      <dsp:spPr>
        <a:xfrm rot="5400000">
          <a:off x="2717382" y="786711"/>
          <a:ext cx="1212064" cy="312792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59055" rIns="118110" bIns="59055" numCol="1" spcCol="1270" anchor="ctr" anchorCtr="0">
          <a:noAutofit/>
        </a:bodyPr>
        <a:lstStyle/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3100" kern="1200" dirty="0"/>
            <a:t>125 results</a:t>
          </a:r>
        </a:p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3100" kern="1200" dirty="0"/>
            <a:t>28 Exceedances</a:t>
          </a:r>
        </a:p>
      </dsp:txBody>
      <dsp:txXfrm rot="-5400000">
        <a:off x="1759454" y="1803807"/>
        <a:ext cx="3068752" cy="1093728"/>
      </dsp:txXfrm>
    </dsp:sp>
    <dsp:sp modelId="{8950A684-F4D7-472E-833E-A41D95319D4D}">
      <dsp:nvSpPr>
        <dsp:cNvPr id="0" name=""/>
        <dsp:cNvSpPr/>
      </dsp:nvSpPr>
      <dsp:spPr>
        <a:xfrm>
          <a:off x="0" y="1593130"/>
          <a:ext cx="1759455" cy="1515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500" kern="1200" dirty="0"/>
            <a:t>Respirable Crystalline Silica</a:t>
          </a:r>
        </a:p>
      </dsp:txBody>
      <dsp:txXfrm>
        <a:off x="73960" y="1667090"/>
        <a:ext cx="1611535" cy="1367160"/>
      </dsp:txXfrm>
    </dsp:sp>
    <dsp:sp modelId="{A3A63045-C713-4BC8-BE85-9D3EA6BCA574}">
      <dsp:nvSpPr>
        <dsp:cNvPr id="0" name=""/>
        <dsp:cNvSpPr/>
      </dsp:nvSpPr>
      <dsp:spPr>
        <a:xfrm rot="5400000">
          <a:off x="2717382" y="2377545"/>
          <a:ext cx="1212064" cy="3127920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8110" tIns="59055" rIns="118110" bIns="59055" numCol="1" spcCol="1270" anchor="ctr" anchorCtr="0">
          <a:noAutofit/>
        </a:bodyPr>
        <a:lstStyle/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3100" kern="1200" dirty="0"/>
            <a:t>38 results</a:t>
          </a:r>
        </a:p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AU" sz="3100" kern="1200" dirty="0"/>
            <a:t>0 Exceedance </a:t>
          </a:r>
        </a:p>
      </dsp:txBody>
      <dsp:txXfrm rot="-5400000">
        <a:off x="1759454" y="3394641"/>
        <a:ext cx="3068752" cy="1093728"/>
      </dsp:txXfrm>
    </dsp:sp>
    <dsp:sp modelId="{328BA089-D585-4E8F-A144-8FBC82E6961E}">
      <dsp:nvSpPr>
        <dsp:cNvPr id="0" name=""/>
        <dsp:cNvSpPr/>
      </dsp:nvSpPr>
      <dsp:spPr>
        <a:xfrm>
          <a:off x="0" y="3183965"/>
          <a:ext cx="1759455" cy="151508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0" tIns="47625" rIns="95250" bIns="47625" numCol="1" spcCol="1270" anchor="ctr" anchorCtr="0">
          <a:noAutofit/>
        </a:bodyPr>
        <a:lstStyle/>
        <a:p>
          <a:pPr marL="0" lvl="0" indent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AU" sz="2500" kern="1200" dirty="0"/>
            <a:t>Inhalable Dust</a:t>
          </a:r>
        </a:p>
      </dsp:txBody>
      <dsp:txXfrm>
        <a:off x="73960" y="3257925"/>
        <a:ext cx="1611535" cy="136716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6889" cy="493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43" tIns="47076" rIns="94143" bIns="47076" numCol="1" anchor="t" anchorCtr="0" compatLnSpc="1">
            <a:prstTxWarp prst="textNoShape">
              <a:avLst/>
            </a:prstTxWarp>
          </a:bodyPr>
          <a:lstStyle>
            <a:lvl1pPr defTabSz="944040" eaLnBrk="1" hangingPunct="1">
              <a:defRPr sz="1200"/>
            </a:lvl1pPr>
          </a:lstStyle>
          <a:p>
            <a:endParaRPr lang="en-US" dirty="0"/>
          </a:p>
        </p:txBody>
      </p:sp>
      <p:sp>
        <p:nvSpPr>
          <p:cNvPr id="8806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2" y="9377514"/>
            <a:ext cx="2946889" cy="493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43" tIns="47076" rIns="94143" bIns="47076" numCol="1" anchor="b" anchorCtr="0" compatLnSpc="1">
            <a:prstTxWarp prst="textNoShape">
              <a:avLst/>
            </a:prstTxWarp>
          </a:bodyPr>
          <a:lstStyle>
            <a:lvl1pPr defTabSz="944040" eaLnBrk="1" hangingPunct="1">
              <a:defRPr sz="1200"/>
            </a:lvl1pPr>
          </a:lstStyle>
          <a:p>
            <a:endParaRPr lang="en-US"/>
          </a:p>
        </p:txBody>
      </p:sp>
      <p:sp>
        <p:nvSpPr>
          <p:cNvPr id="8806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250" y="9377514"/>
            <a:ext cx="2946889" cy="493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43" tIns="47076" rIns="94143" bIns="47076" numCol="1" anchor="b" anchorCtr="0" compatLnSpc="1">
            <a:prstTxWarp prst="textNoShape">
              <a:avLst/>
            </a:prstTxWarp>
          </a:bodyPr>
          <a:lstStyle>
            <a:lvl1pPr algn="r" defTabSz="944040" eaLnBrk="1" hangingPunct="1">
              <a:defRPr sz="1200"/>
            </a:lvl1pPr>
          </a:lstStyle>
          <a:p>
            <a:fld id="{4CE21A52-7FA3-43AB-A5A9-2B62D9163DC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3404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0"/>
            <a:ext cx="2946889" cy="493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43" tIns="47076" rIns="94143" bIns="47076" numCol="1" anchor="t" anchorCtr="0" compatLnSpc="1">
            <a:prstTxWarp prst="textNoShape">
              <a:avLst/>
            </a:prstTxWarp>
          </a:bodyPr>
          <a:lstStyle>
            <a:lvl1pPr defTabSz="944040" eaLnBrk="1" hangingPunct="1">
              <a:defRPr sz="1200"/>
            </a:lvl1pPr>
          </a:lstStyle>
          <a:p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250" y="0"/>
            <a:ext cx="2946889" cy="493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43" tIns="47076" rIns="94143" bIns="47076" numCol="1" anchor="t" anchorCtr="0" compatLnSpc="1">
            <a:prstTxWarp prst="textNoShape">
              <a:avLst/>
            </a:prstTxWarp>
          </a:bodyPr>
          <a:lstStyle>
            <a:lvl1pPr algn="r" defTabSz="944040" eaLnBrk="1" hangingPunct="1">
              <a:defRPr sz="1200"/>
            </a:lvl1pPr>
          </a:lstStyle>
          <a:p>
            <a:endParaRPr lang="en-US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2208213" y="7573963"/>
            <a:ext cx="2370137" cy="17795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8701" y="511991"/>
            <a:ext cx="5435680" cy="6723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43" tIns="47076" rIns="94143" bIns="4707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9377514"/>
            <a:ext cx="2946889" cy="493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43" tIns="47076" rIns="94143" bIns="47076" numCol="1" anchor="b" anchorCtr="0" compatLnSpc="1">
            <a:prstTxWarp prst="textNoShape">
              <a:avLst/>
            </a:prstTxWarp>
          </a:bodyPr>
          <a:lstStyle>
            <a:lvl1pPr defTabSz="944040" eaLnBrk="1" hangingPunct="1">
              <a:defRPr sz="1200"/>
            </a:lvl1pPr>
          </a:lstStyle>
          <a:p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250" y="9377514"/>
            <a:ext cx="2946889" cy="493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143" tIns="47076" rIns="94143" bIns="47076" numCol="1" anchor="b" anchorCtr="0" compatLnSpc="1">
            <a:prstTxWarp prst="textNoShape">
              <a:avLst/>
            </a:prstTxWarp>
          </a:bodyPr>
          <a:lstStyle>
            <a:lvl1pPr algn="r" defTabSz="944040" eaLnBrk="1" hangingPunct="1">
              <a:defRPr sz="1200"/>
            </a:lvl1pPr>
          </a:lstStyle>
          <a:p>
            <a:fld id="{EFAB9EFF-9CB0-4C93-BE77-4F8E483F813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875644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EFCC1C4-3012-8C41-B638-4F811FC0EE5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41545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6553"/>
            <a:fld id="{D0254E6D-0905-4B82-85A4-C629227BB431}" type="slidenum">
              <a:rPr lang="en-AU"/>
              <a:pPr defTabSz="916553"/>
              <a:t>4</a:t>
            </a:fld>
            <a:endParaRPr lang="en-AU" dirty="0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358" y="4717077"/>
            <a:ext cx="4984962" cy="4464239"/>
          </a:xfrm>
          <a:noFill/>
          <a:ln/>
        </p:spPr>
        <p:txBody>
          <a:bodyPr/>
          <a:lstStyle/>
          <a:p>
            <a:pPr eaLnBrk="1" hangingPunct="1"/>
            <a:r>
              <a:rPr lang="en-US" dirty="0"/>
              <a:t>Blair</a:t>
            </a:r>
            <a:r>
              <a:rPr lang="en-US" baseline="0" dirty="0"/>
              <a:t> Jackson – or deleg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36430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6553"/>
            <a:fld id="{D0254E6D-0905-4B82-85A4-C629227BB431}" type="slidenum">
              <a:rPr lang="en-AU"/>
              <a:pPr defTabSz="916553"/>
              <a:t>6</a:t>
            </a:fld>
            <a:endParaRPr lang="en-AU" dirty="0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358" y="4717077"/>
            <a:ext cx="4984962" cy="4464239"/>
          </a:xfrm>
          <a:noFill/>
          <a:ln/>
        </p:spPr>
        <p:txBody>
          <a:bodyPr/>
          <a:lstStyle/>
          <a:p>
            <a:pPr eaLnBrk="1" hangingPunct="1"/>
            <a:r>
              <a:rPr lang="en-US" dirty="0"/>
              <a:t>Blair</a:t>
            </a:r>
            <a:r>
              <a:rPr lang="en-US" baseline="0" dirty="0"/>
              <a:t> Jackson – or deleg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19107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6553"/>
            <a:fld id="{D0254E6D-0905-4B82-85A4-C629227BB431}" type="slidenum">
              <a:rPr lang="en-AU"/>
              <a:pPr defTabSz="916553"/>
              <a:t>7</a:t>
            </a:fld>
            <a:endParaRPr lang="en-AU" dirty="0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358" y="4717077"/>
            <a:ext cx="4984962" cy="4464239"/>
          </a:xfrm>
          <a:noFill/>
          <a:ln/>
        </p:spPr>
        <p:txBody>
          <a:bodyPr/>
          <a:lstStyle/>
          <a:p>
            <a:pPr eaLnBrk="1" hangingPunct="1"/>
            <a:r>
              <a:rPr lang="en-US" dirty="0"/>
              <a:t>Blair</a:t>
            </a:r>
            <a:r>
              <a:rPr lang="en-US" baseline="0" dirty="0"/>
              <a:t> Jackson – or deleg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30483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16553"/>
            <a:fld id="{D0254E6D-0905-4B82-85A4-C629227BB431}" type="slidenum">
              <a:rPr lang="en-AU"/>
              <a:pPr defTabSz="916553"/>
              <a:t>8</a:t>
            </a:fld>
            <a:endParaRPr lang="en-AU" dirty="0"/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6358" y="4717077"/>
            <a:ext cx="4984962" cy="4464239"/>
          </a:xfrm>
          <a:noFill/>
          <a:ln/>
        </p:spPr>
        <p:txBody>
          <a:bodyPr/>
          <a:lstStyle/>
          <a:p>
            <a:pPr eaLnBrk="1" hangingPunct="1"/>
            <a:r>
              <a:rPr lang="en-US" dirty="0"/>
              <a:t>Blair</a:t>
            </a:r>
            <a:r>
              <a:rPr lang="en-US" baseline="0" dirty="0"/>
              <a:t> Jackson – or deleg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68472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over3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64" b="17484"/>
          <a:stretch/>
        </p:blipFill>
        <p:spPr>
          <a:xfrm>
            <a:off x="0" y="0"/>
            <a:ext cx="9144000" cy="4845292"/>
          </a:xfrm>
          <a:prstGeom prst="rect">
            <a:avLst/>
          </a:prstGeom>
        </p:spPr>
      </p:pic>
      <p:pic>
        <p:nvPicPr>
          <p:cNvPr id="5" name="Picture 4" descr="PeaBodyEnergy_PMS301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39708" y="6044807"/>
            <a:ext cx="1593327" cy="541731"/>
          </a:xfrm>
          <a:prstGeom prst="rect">
            <a:avLst/>
          </a:prstGeom>
        </p:spPr>
      </p:pic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537092" y="5360527"/>
            <a:ext cx="2069815" cy="366527"/>
          </a:xfrm>
        </p:spPr>
        <p:txBody>
          <a:bodyPr>
            <a:normAutofit/>
          </a:bodyPr>
          <a:lstStyle>
            <a:lvl1pPr marL="0" indent="0" algn="ctr" rtl="0" eaLnBrk="1" fontAlgn="auto" hangingPunct="1">
              <a:spcBef>
                <a:spcPct val="20000"/>
              </a:spcBef>
              <a:spcAft>
                <a:spcPts val="0"/>
              </a:spcAft>
              <a:buClr>
                <a:srgbClr val="003A6F"/>
              </a:buClr>
              <a:buNone/>
              <a:defRPr lang="en-US" sz="1600" b="1" i="1" kern="1200" dirty="0" smtClean="0">
                <a:solidFill>
                  <a:srgbClr val="10253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 hasCustomPrompt="1"/>
          </p:nvPr>
        </p:nvSpPr>
        <p:spPr>
          <a:xfrm>
            <a:off x="355562" y="6044807"/>
            <a:ext cx="3167284" cy="613268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buNone/>
              <a:defRPr kumimoji="0" lang="en-US" sz="1600" b="1" i="1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195"/>
              </a:buClr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Presenter nam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195"/>
              </a:buClr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Presenter title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195"/>
              </a:buClr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51777" y="4319955"/>
            <a:ext cx="6246795" cy="1050674"/>
          </a:xfrm>
        </p:spPr>
        <p:txBody>
          <a:bodyPr anchor="t">
            <a:normAutofit/>
          </a:bodyPr>
          <a:lstStyle>
            <a:lvl1pPr mar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800" b="1" i="1" kern="1200" dirty="0">
                <a:solidFill>
                  <a:srgbClr val="10253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817527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788B1F-1DCC-9E4A-8374-BA785BCB0361}"/>
              </a:ext>
            </a:extLst>
          </p:cNvPr>
          <p:cNvSpPr/>
          <p:nvPr userDrawn="1"/>
        </p:nvSpPr>
        <p:spPr>
          <a:xfrm>
            <a:off x="0" y="977900"/>
            <a:ext cx="9144000" cy="5118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7" name="Picture 6" descr="PeaBody_logo_RGB.png">
            <a:extLst>
              <a:ext uri="{FF2B5EF4-FFF2-40B4-BE49-F238E27FC236}">
                <a16:creationId xmlns:a16="http://schemas.microsoft.com/office/drawing/2014/main" id="{14A8F74B-EA93-1C48-8940-C0EAF00091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96" y="6355515"/>
            <a:ext cx="1119726" cy="3723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73E24E6-D7B3-E644-A1A3-80CDFE06F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335"/>
            <a:ext cx="9144000" cy="12573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7688D70-DE35-E645-9EB7-98593AE47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942" y="174233"/>
            <a:ext cx="8039658" cy="8718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ext Styles 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B452828-D8E2-2A45-99D8-2D08772C70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7185" y="1277885"/>
            <a:ext cx="8183416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6B8DA2-28C6-064A-944F-29345970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D11B930-3539-B948-AFA9-1262289CF3A2}"/>
              </a:ext>
            </a:extLst>
          </p:cNvPr>
          <p:cNvSpPr/>
          <p:nvPr userDrawn="1"/>
        </p:nvSpPr>
        <p:spPr>
          <a:xfrm>
            <a:off x="8610600" y="1034540"/>
            <a:ext cx="334537" cy="2240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3005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823F781-46D3-2541-97E3-D13F8605EE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0532"/>
            <a:ext cx="9211376" cy="6908532"/>
          </a:xfrm>
          <a:prstGeom prst="rect">
            <a:avLst/>
          </a:prstGeom>
        </p:spPr>
      </p:pic>
      <p:pic>
        <p:nvPicPr>
          <p:cNvPr id="5" name="Picture 4" descr="PeaBody_logo_RGB.png">
            <a:extLst>
              <a:ext uri="{FF2B5EF4-FFF2-40B4-BE49-F238E27FC236}">
                <a16:creationId xmlns:a16="http://schemas.microsoft.com/office/drawing/2014/main" id="{EC98EF58-2B03-6B49-BB73-D9A597FB9E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19" y="4928535"/>
            <a:ext cx="1467810" cy="48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425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84882" y="1241658"/>
            <a:ext cx="8648796" cy="48585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89701EB-FBAA-E94A-AC56-5B79FBF268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500" y="1279758"/>
            <a:ext cx="8039101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8F2937-74A8-AF4C-A77F-9610CB9AED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385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1500" y="1239072"/>
            <a:ext cx="8039101" cy="4197934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●"/>
              <a:tabLst/>
              <a:defRPr sz="2200">
                <a:solidFill>
                  <a:srgbClr val="000000"/>
                </a:solidFill>
                <a:latin typeface="Calibri"/>
                <a:cs typeface="Calibri"/>
              </a:defRPr>
            </a:lvl1pPr>
            <a:lvl2pPr>
              <a:lnSpc>
                <a:spcPct val="120000"/>
              </a:lnSpc>
              <a:defRPr sz="1800">
                <a:solidFill>
                  <a:srgbClr val="000000"/>
                </a:solidFill>
                <a:latin typeface="Calibri"/>
                <a:cs typeface="Calibri"/>
              </a:defRPr>
            </a:lvl2pPr>
            <a:lvl3pPr marL="1523733" marR="0" indent="-304747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0000"/>
                </a:solidFill>
                <a:latin typeface="Calibri"/>
                <a:cs typeface="Calibri"/>
              </a:defRPr>
            </a:lvl3pPr>
            <a:lvl4pPr>
              <a:defRPr>
                <a:solidFill>
                  <a:srgbClr val="65655B"/>
                </a:solidFill>
                <a:latin typeface="Calibri"/>
                <a:cs typeface="Calibri"/>
              </a:defRPr>
            </a:lvl4pPr>
            <a:lvl5pPr>
              <a:defRPr>
                <a:solidFill>
                  <a:srgbClr val="65655B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70943" y="280009"/>
            <a:ext cx="8039658" cy="779260"/>
          </a:xfrm>
          <a:prstGeom prst="rect">
            <a:avLst/>
          </a:prstGeom>
        </p:spPr>
        <p:txBody>
          <a:bodyPr vert="horz" lIns="0" tIns="0" rIns="118872" bIns="0" rtlCol="0" anchor="b" anchorCtr="0"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 Click To Edit Master Text Styles</a:t>
            </a:r>
            <a:br>
              <a:rPr lang="en-US" dirty="0"/>
            </a:br>
            <a:r>
              <a:rPr lang="en-US" dirty="0"/>
              <a:t>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618BFC-805C-0A4D-AD03-490CDAA811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849007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2523C23-16C0-9C4E-9392-38698B5F72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499" y="1239072"/>
            <a:ext cx="8039101" cy="4197934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●"/>
              <a:tabLst/>
              <a:defRPr sz="2200">
                <a:solidFill>
                  <a:srgbClr val="000000"/>
                </a:solidFill>
                <a:latin typeface="Calibri"/>
                <a:cs typeface="Calibri"/>
              </a:defRPr>
            </a:lvl1pPr>
            <a:lvl2pPr>
              <a:lnSpc>
                <a:spcPct val="120000"/>
              </a:lnSpc>
              <a:defRPr sz="1800">
                <a:solidFill>
                  <a:srgbClr val="000000"/>
                </a:solidFill>
                <a:latin typeface="Calibri"/>
                <a:cs typeface="Calibri"/>
              </a:defRPr>
            </a:lvl2pPr>
            <a:lvl3pPr marL="1523733" marR="0" indent="-304747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0000"/>
                </a:solidFill>
                <a:latin typeface="Calibri"/>
                <a:cs typeface="Calibri"/>
              </a:defRPr>
            </a:lvl3pPr>
            <a:lvl4pPr>
              <a:defRPr>
                <a:solidFill>
                  <a:srgbClr val="65655B"/>
                </a:solidFill>
                <a:latin typeface="Calibri"/>
                <a:cs typeface="Calibri"/>
              </a:defRPr>
            </a:lvl4pPr>
            <a:lvl5pPr>
              <a:defRPr>
                <a:solidFill>
                  <a:srgbClr val="65655B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DF8E373-51E8-AA4B-B7C5-05254C7D3B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43" y="-83730"/>
            <a:ext cx="8039658" cy="1143000"/>
          </a:xfrm>
          <a:prstGeom prst="rect">
            <a:avLst/>
          </a:prstGeom>
        </p:spPr>
        <p:txBody>
          <a:bodyPr vert="horz" lIns="0" tIns="60949" rIns="121899" bIns="0" rtlCol="0" anchor="b" anchorCtr="0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 Click To Edit Master Text Styles</a:t>
            </a:r>
            <a:br>
              <a:rPr lang="en-US" dirty="0"/>
            </a:br>
            <a:r>
              <a:rPr lang="en-US" dirty="0"/>
              <a:t>text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23E0095-C735-9145-BDA5-5E86C3CBC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56820E-16AC-9341-AE26-CAB6D02CBB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6382034"/>
            <a:ext cx="6121400" cy="309562"/>
          </a:xfrm>
        </p:spPr>
        <p:txBody>
          <a:bodyPr/>
          <a:lstStyle>
            <a:lvl1pPr marL="114300" indent="0">
              <a:buNone/>
              <a:defRPr sz="1000">
                <a:solidFill>
                  <a:srgbClr val="999B9D"/>
                </a:solidFill>
              </a:defRPr>
            </a:lvl1pPr>
          </a:lstStyle>
          <a:p>
            <a:pPr lvl="0"/>
            <a:br>
              <a:rPr lang="en-US" dirty="0"/>
            </a:br>
            <a:r>
              <a:rPr lang="en-US" dirty="0"/>
              <a:t>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39531798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52" userDrawn="1">
          <p15:clr>
            <a:srgbClr val="FBAE40"/>
          </p15:clr>
        </p15:guide>
        <p15:guide id="2" pos="542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631" y="1239072"/>
            <a:ext cx="3672786" cy="4197934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0000"/>
                </a:solidFill>
                <a:latin typeface="Calibri"/>
                <a:cs typeface="Calibri"/>
              </a:defRPr>
            </a:lvl1pPr>
            <a:lvl2pPr>
              <a:lnSpc>
                <a:spcPct val="120000"/>
              </a:lnSpc>
              <a:defRPr sz="1800">
                <a:solidFill>
                  <a:srgbClr val="000000"/>
                </a:solidFill>
                <a:latin typeface="Calibri"/>
                <a:cs typeface="Calibri"/>
              </a:defRPr>
            </a:lvl2pPr>
            <a:lvl3pPr marL="1523733" marR="0" indent="-304747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0000"/>
                </a:solidFill>
                <a:latin typeface="Calibri"/>
                <a:cs typeface="Calibri"/>
              </a:defRPr>
            </a:lvl3pPr>
            <a:lvl4pPr>
              <a:defRPr>
                <a:solidFill>
                  <a:srgbClr val="65655B"/>
                </a:solidFill>
                <a:latin typeface="Calibri"/>
                <a:cs typeface="Calibri"/>
              </a:defRPr>
            </a:lvl4pPr>
            <a:lvl5pPr>
              <a:defRPr>
                <a:solidFill>
                  <a:srgbClr val="65655B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637949" y="1237887"/>
            <a:ext cx="3672786" cy="4197934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0000"/>
                </a:solidFill>
                <a:latin typeface="Calibri"/>
                <a:cs typeface="Calibri"/>
              </a:defRPr>
            </a:lvl1pPr>
            <a:lvl2pPr>
              <a:lnSpc>
                <a:spcPct val="120000"/>
              </a:lnSpc>
              <a:defRPr sz="1800">
                <a:solidFill>
                  <a:srgbClr val="000000"/>
                </a:solidFill>
                <a:latin typeface="Calibri"/>
                <a:cs typeface="Calibri"/>
              </a:defRPr>
            </a:lvl2pPr>
            <a:lvl3pPr marL="1523733" marR="0" indent="-304747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0000"/>
                </a:solidFill>
                <a:latin typeface="Calibri"/>
                <a:cs typeface="Calibri"/>
              </a:defRPr>
            </a:lvl3pPr>
            <a:lvl4pPr>
              <a:defRPr>
                <a:solidFill>
                  <a:srgbClr val="65655B"/>
                </a:solidFill>
                <a:latin typeface="Calibri"/>
                <a:cs typeface="Calibri"/>
              </a:defRPr>
            </a:lvl4pPr>
            <a:lvl5pPr>
              <a:defRPr>
                <a:solidFill>
                  <a:srgbClr val="65655B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CE61A3B-B98D-9440-9C05-9D98DA0F5DAC}"/>
              </a:ext>
            </a:extLst>
          </p:cNvPr>
          <p:cNvSpPr txBox="1">
            <a:spLocks/>
          </p:cNvSpPr>
          <p:nvPr userDrawn="1"/>
        </p:nvSpPr>
        <p:spPr>
          <a:xfrm>
            <a:off x="570942" y="-83730"/>
            <a:ext cx="8106399" cy="1143000"/>
          </a:xfrm>
          <a:prstGeom prst="rect">
            <a:avLst/>
          </a:prstGeom>
        </p:spPr>
        <p:txBody>
          <a:bodyPr vert="horz" lIns="0" tIns="60949" rIns="121899" bIns="0" rtlCol="0" anchor="b" anchorCtr="0">
            <a:normAutofit/>
          </a:bodyPr>
          <a:lstStyle>
            <a:lvl1pPr algn="l" defTabSz="609493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600" b="1" kern="1200" cap="none">
                <a:solidFill>
                  <a:srgbClr val="000000"/>
                </a:solidFill>
                <a:latin typeface="Calibri"/>
                <a:ea typeface="+mj-ea"/>
                <a:cs typeface="Calibri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400" dirty="0"/>
              <a:t>Click To Edit Master Text Styles Click To Edit Master Text Styles</a:t>
            </a:r>
          </a:p>
          <a:p>
            <a:pPr fontAlgn="auto">
              <a:spcAft>
                <a:spcPts val="0"/>
              </a:spcAft>
            </a:pPr>
            <a:r>
              <a:rPr lang="en-US" sz="2400" dirty="0"/>
              <a:t>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F7C723-AF8F-AA42-8811-F8FB565944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04054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38FDC98-08F9-DF45-8ACF-37949BAD1DCE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850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837" y="125630"/>
            <a:ext cx="6770532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91056"/>
            <a:ext cx="8229600" cy="4535424"/>
          </a:xfrm>
        </p:spPr>
        <p:txBody>
          <a:bodyPr/>
          <a:lstStyle>
            <a:lvl1pPr>
              <a:buClr>
                <a:srgbClr val="003A6F"/>
              </a:buClr>
              <a:buSzPct val="100000"/>
              <a:buFont typeface="Arial" pitchFamily="34" charset="0"/>
              <a:buChar char="●"/>
              <a:defRPr/>
            </a:lvl1pPr>
            <a:lvl2pPr>
              <a:spcBef>
                <a:spcPts val="600"/>
              </a:spcBef>
              <a:buClr>
                <a:srgbClr val="003A6F"/>
              </a:buClr>
              <a:defRPr sz="2000"/>
            </a:lvl2pPr>
            <a:lvl3pPr>
              <a:buClr>
                <a:srgbClr val="003A6F"/>
              </a:buClr>
              <a:buFont typeface="Arial" pitchFamily="34" charset="0"/>
              <a:buChar char="–"/>
              <a:defRPr sz="2000"/>
            </a:lvl3pPr>
            <a:lvl4pPr>
              <a:buClr>
                <a:srgbClr val="003A6F"/>
              </a:buClr>
              <a:defRPr sz="2000"/>
            </a:lvl4pPr>
            <a:lvl5pPr>
              <a:buClr>
                <a:srgbClr val="005195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6672046" y="6443811"/>
            <a:ext cx="2133600" cy="365125"/>
          </a:xfrm>
        </p:spPr>
        <p:txBody>
          <a:bodyPr/>
          <a:lstStyle/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5959" y="977484"/>
            <a:ext cx="8376404" cy="462581"/>
          </a:xfrm>
        </p:spPr>
        <p:txBody>
          <a:bodyPr>
            <a:normAutofit/>
          </a:bodyPr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None/>
              <a:defRPr lang="en-US" sz="2000" b="1" i="1" kern="1200" dirty="0" smtClean="0">
                <a:solidFill>
                  <a:srgbClr val="005E3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0575" y="6515713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837" y="125630"/>
            <a:ext cx="6770532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91056"/>
            <a:ext cx="8229600" cy="4535424"/>
          </a:xfrm>
        </p:spPr>
        <p:txBody>
          <a:bodyPr/>
          <a:lstStyle>
            <a:lvl1pPr>
              <a:buClr>
                <a:srgbClr val="003A6F"/>
              </a:buClr>
              <a:buSzPct val="100000"/>
              <a:buFont typeface="Arial" pitchFamily="34" charset="0"/>
              <a:buChar char="●"/>
              <a:defRPr/>
            </a:lvl1pPr>
            <a:lvl2pPr>
              <a:spcBef>
                <a:spcPts val="600"/>
              </a:spcBef>
              <a:buClr>
                <a:srgbClr val="003A6F"/>
              </a:buClr>
              <a:defRPr sz="2000"/>
            </a:lvl2pPr>
            <a:lvl3pPr>
              <a:buClr>
                <a:srgbClr val="003A6F"/>
              </a:buClr>
              <a:buFont typeface="Arial" pitchFamily="34" charset="0"/>
              <a:buChar char="–"/>
              <a:defRPr sz="2000"/>
            </a:lvl3pPr>
            <a:lvl4pPr>
              <a:buClr>
                <a:srgbClr val="003A6F"/>
              </a:buClr>
              <a:defRPr sz="2000"/>
            </a:lvl4pPr>
            <a:lvl5pPr>
              <a:buClr>
                <a:srgbClr val="005195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6672046" y="6443811"/>
            <a:ext cx="2133600" cy="365125"/>
          </a:xfrm>
        </p:spPr>
        <p:txBody>
          <a:bodyPr/>
          <a:lstStyle/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5959" y="977484"/>
            <a:ext cx="8376404" cy="462581"/>
          </a:xfrm>
        </p:spPr>
        <p:txBody>
          <a:bodyPr>
            <a:normAutofit/>
          </a:bodyPr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None/>
              <a:defRPr lang="en-US" sz="2000" b="1" i="1" kern="1200" dirty="0" smtClean="0">
                <a:solidFill>
                  <a:srgbClr val="005E3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0575" y="6515713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2193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887" y="123569"/>
            <a:ext cx="6794385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 b="1">
                <a:solidFill>
                  <a:srgbClr val="0066A4"/>
                </a:solidFill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56350" y="971588"/>
            <a:ext cx="8386014" cy="481848"/>
          </a:xfrm>
        </p:spPr>
        <p:txBody>
          <a:bodyPr>
            <a:normAutofit/>
          </a:bodyPr>
          <a:lstStyle>
            <a:lvl1pPr marL="0" indent="0">
              <a:buNone/>
              <a:defRPr lang="en-US" sz="2000" b="1" i="1" kern="1200" dirty="0" smtClean="0">
                <a:solidFill>
                  <a:srgbClr val="00583B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ea typeface="ＭＳ Ｐゴシック" pitchFamily="34" charset="-128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0575" y="6515717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15343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788B1F-1DCC-9E4A-8374-BA785BCB0361}"/>
              </a:ext>
            </a:extLst>
          </p:cNvPr>
          <p:cNvSpPr/>
          <p:nvPr userDrawn="1"/>
        </p:nvSpPr>
        <p:spPr>
          <a:xfrm>
            <a:off x="0" y="977900"/>
            <a:ext cx="9144000" cy="51181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pic>
        <p:nvPicPr>
          <p:cNvPr id="7" name="Picture 6" descr="PeaBody_logo_RGB.png">
            <a:extLst>
              <a:ext uri="{FF2B5EF4-FFF2-40B4-BE49-F238E27FC236}">
                <a16:creationId xmlns:a16="http://schemas.microsoft.com/office/drawing/2014/main" id="{14A8F74B-EA93-1C48-8940-C0EAF00091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96" y="6355515"/>
            <a:ext cx="1119726" cy="37230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73E24E6-D7B3-E644-A1A3-80CDFE06F8D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1335"/>
            <a:ext cx="9144000" cy="1257300"/>
          </a:xfrm>
          <a:prstGeom prst="rect">
            <a:avLst/>
          </a:prstGeom>
        </p:spPr>
      </p:pic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7688D70-DE35-E645-9EB7-98593AE47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942" y="174233"/>
            <a:ext cx="8039658" cy="8718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ext Styles 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B452828-D8E2-2A45-99D8-2D08772C70D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7185" y="1277885"/>
            <a:ext cx="8183416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86B8DA2-28C6-064A-944F-29345970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D11B930-3539-B948-AFA9-1262289CF3A2}"/>
              </a:ext>
            </a:extLst>
          </p:cNvPr>
          <p:cNvSpPr/>
          <p:nvPr userDrawn="1"/>
        </p:nvSpPr>
        <p:spPr>
          <a:xfrm>
            <a:off x="8610600" y="1034540"/>
            <a:ext cx="334537" cy="2240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392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823F781-46D3-2541-97E3-D13F8605EE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0532"/>
            <a:ext cx="9211376" cy="6908532"/>
          </a:xfrm>
          <a:prstGeom prst="rect">
            <a:avLst/>
          </a:prstGeom>
        </p:spPr>
      </p:pic>
      <p:pic>
        <p:nvPicPr>
          <p:cNvPr id="5" name="Picture 4" descr="PeaBody_logo_RGB.png">
            <a:extLst>
              <a:ext uri="{FF2B5EF4-FFF2-40B4-BE49-F238E27FC236}">
                <a16:creationId xmlns:a16="http://schemas.microsoft.com/office/drawing/2014/main" id="{EC98EF58-2B03-6B49-BB73-D9A597FB9E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19" y="4928535"/>
            <a:ext cx="1467810" cy="48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569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284882" y="1241658"/>
            <a:ext cx="8648796" cy="48585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C89701EB-FBAA-E94A-AC56-5B79FBF2680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500" y="1279758"/>
            <a:ext cx="8039101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8F2937-74A8-AF4C-A77F-9610CB9AED1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1801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>
            <a:spLocks noGrp="1"/>
          </p:cNvSpPr>
          <p:nvPr>
            <p:ph idx="1" hasCustomPrompt="1"/>
          </p:nvPr>
        </p:nvSpPr>
        <p:spPr>
          <a:xfrm>
            <a:off x="571500" y="1239072"/>
            <a:ext cx="8039101" cy="4197934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●"/>
              <a:tabLst/>
              <a:defRPr sz="2200">
                <a:solidFill>
                  <a:srgbClr val="000000"/>
                </a:solidFill>
                <a:latin typeface="Calibri"/>
                <a:cs typeface="Calibri"/>
              </a:defRPr>
            </a:lvl1pPr>
            <a:lvl2pPr>
              <a:lnSpc>
                <a:spcPct val="120000"/>
              </a:lnSpc>
              <a:defRPr sz="1800">
                <a:solidFill>
                  <a:srgbClr val="000000"/>
                </a:solidFill>
                <a:latin typeface="Calibri"/>
                <a:cs typeface="Calibri"/>
              </a:defRPr>
            </a:lvl2pPr>
            <a:lvl3pPr marL="1523733" marR="0" indent="-304747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0000"/>
                </a:solidFill>
                <a:latin typeface="Calibri"/>
                <a:cs typeface="Calibri"/>
              </a:defRPr>
            </a:lvl3pPr>
            <a:lvl4pPr>
              <a:defRPr>
                <a:solidFill>
                  <a:srgbClr val="65655B"/>
                </a:solidFill>
                <a:latin typeface="Calibri"/>
                <a:cs typeface="Calibri"/>
              </a:defRPr>
            </a:lvl4pPr>
            <a:lvl5pPr>
              <a:defRPr>
                <a:solidFill>
                  <a:srgbClr val="65655B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70943" y="280009"/>
            <a:ext cx="8039658" cy="779260"/>
          </a:xfrm>
          <a:prstGeom prst="rect">
            <a:avLst/>
          </a:prstGeom>
        </p:spPr>
        <p:txBody>
          <a:bodyPr vert="horz" lIns="0" tIns="0" rIns="118872" bIns="0" rtlCol="0" anchor="b" anchorCtr="0">
            <a:no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 Click To Edit Master Text Styles</a:t>
            </a:r>
            <a:br>
              <a:rPr lang="en-US" dirty="0"/>
            </a:br>
            <a:r>
              <a:rPr lang="en-US" dirty="0"/>
              <a:t>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618BFC-805C-0A4D-AD03-490CDAA8115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27535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2523C23-16C0-9C4E-9392-38698B5F729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71499" y="1239072"/>
            <a:ext cx="8039101" cy="4197934"/>
          </a:xfrm>
          <a:prstGeom prst="rect">
            <a:avLst/>
          </a:prstGeom>
        </p:spPr>
        <p:txBody>
          <a:bodyPr>
            <a:normAutofit/>
          </a:bodyPr>
          <a:lstStyle>
            <a:lvl1pPr marL="342900" marR="0" indent="-342900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Lucida Grande"/>
              <a:buChar char="●"/>
              <a:tabLst/>
              <a:defRPr sz="2200">
                <a:solidFill>
                  <a:srgbClr val="000000"/>
                </a:solidFill>
                <a:latin typeface="Calibri"/>
                <a:cs typeface="Calibri"/>
              </a:defRPr>
            </a:lvl1pPr>
            <a:lvl2pPr>
              <a:lnSpc>
                <a:spcPct val="120000"/>
              </a:lnSpc>
              <a:defRPr sz="1800">
                <a:solidFill>
                  <a:srgbClr val="000000"/>
                </a:solidFill>
                <a:latin typeface="Calibri"/>
                <a:cs typeface="Calibri"/>
              </a:defRPr>
            </a:lvl2pPr>
            <a:lvl3pPr marL="1523733" marR="0" indent="-304747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0000"/>
                </a:solidFill>
                <a:latin typeface="Calibri"/>
                <a:cs typeface="Calibri"/>
              </a:defRPr>
            </a:lvl3pPr>
            <a:lvl4pPr>
              <a:defRPr>
                <a:solidFill>
                  <a:srgbClr val="65655B"/>
                </a:solidFill>
                <a:latin typeface="Calibri"/>
                <a:cs typeface="Calibri"/>
              </a:defRPr>
            </a:lvl4pPr>
            <a:lvl5pPr>
              <a:defRPr>
                <a:solidFill>
                  <a:srgbClr val="65655B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5DF8E373-51E8-AA4B-B7C5-05254C7D3B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0943" y="-83730"/>
            <a:ext cx="8039658" cy="1143000"/>
          </a:xfrm>
          <a:prstGeom prst="rect">
            <a:avLst/>
          </a:prstGeom>
        </p:spPr>
        <p:txBody>
          <a:bodyPr vert="horz" lIns="0" tIns="60949" rIns="121899" bIns="0" rtlCol="0" anchor="b" anchorCtr="0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 Click To Edit Master Text Styles</a:t>
            </a:r>
            <a:br>
              <a:rPr lang="en-US" dirty="0"/>
            </a:br>
            <a:r>
              <a:rPr lang="en-US" dirty="0"/>
              <a:t>text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23E0095-C735-9145-BDA5-5E86C3CBCFD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56820E-16AC-9341-AE26-CAB6D02CBB3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28800" y="6382034"/>
            <a:ext cx="6121400" cy="309562"/>
          </a:xfrm>
        </p:spPr>
        <p:txBody>
          <a:bodyPr/>
          <a:lstStyle>
            <a:lvl1pPr marL="114300" indent="0">
              <a:buNone/>
              <a:defRPr sz="1000">
                <a:solidFill>
                  <a:srgbClr val="999B9D"/>
                </a:solidFill>
              </a:defRPr>
            </a:lvl1pPr>
          </a:lstStyle>
          <a:p>
            <a:pPr lvl="0"/>
            <a:br>
              <a:rPr lang="en-US" dirty="0"/>
            </a:br>
            <a:r>
              <a:rPr lang="en-US" dirty="0"/>
              <a:t>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712549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52" userDrawn="1">
          <p15:clr>
            <a:srgbClr val="FBAE40"/>
          </p15:clr>
        </p15:guide>
        <p15:guide id="2" pos="5424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>
          <a:xfrm>
            <a:off x="569631" y="1239072"/>
            <a:ext cx="3672786" cy="4197934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0000"/>
                </a:solidFill>
                <a:latin typeface="Calibri"/>
                <a:cs typeface="Calibri"/>
              </a:defRPr>
            </a:lvl1pPr>
            <a:lvl2pPr>
              <a:lnSpc>
                <a:spcPct val="120000"/>
              </a:lnSpc>
              <a:defRPr sz="1800">
                <a:solidFill>
                  <a:srgbClr val="000000"/>
                </a:solidFill>
                <a:latin typeface="Calibri"/>
                <a:cs typeface="Calibri"/>
              </a:defRPr>
            </a:lvl2pPr>
            <a:lvl3pPr marL="1523733" marR="0" indent="-304747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0000"/>
                </a:solidFill>
                <a:latin typeface="Calibri"/>
                <a:cs typeface="Calibri"/>
              </a:defRPr>
            </a:lvl3pPr>
            <a:lvl4pPr>
              <a:defRPr>
                <a:solidFill>
                  <a:srgbClr val="65655B"/>
                </a:solidFill>
                <a:latin typeface="Calibri"/>
                <a:cs typeface="Calibri"/>
              </a:defRPr>
            </a:lvl4pPr>
            <a:lvl5pPr>
              <a:defRPr>
                <a:solidFill>
                  <a:srgbClr val="65655B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1" hasCustomPrompt="1"/>
          </p:nvPr>
        </p:nvSpPr>
        <p:spPr>
          <a:xfrm>
            <a:off x="4637949" y="1237887"/>
            <a:ext cx="3672786" cy="4197934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200">
                <a:solidFill>
                  <a:srgbClr val="000000"/>
                </a:solidFill>
                <a:latin typeface="Calibri"/>
                <a:cs typeface="Calibri"/>
              </a:defRPr>
            </a:lvl1pPr>
            <a:lvl2pPr>
              <a:lnSpc>
                <a:spcPct val="120000"/>
              </a:lnSpc>
              <a:defRPr sz="1800">
                <a:solidFill>
                  <a:srgbClr val="000000"/>
                </a:solidFill>
                <a:latin typeface="Calibri"/>
                <a:cs typeface="Calibri"/>
              </a:defRPr>
            </a:lvl2pPr>
            <a:lvl3pPr marL="1523733" marR="0" indent="-304747" algn="l" defTabSz="609493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0000"/>
                </a:solidFill>
                <a:latin typeface="Calibri"/>
                <a:cs typeface="Calibri"/>
              </a:defRPr>
            </a:lvl3pPr>
            <a:lvl4pPr>
              <a:defRPr>
                <a:solidFill>
                  <a:srgbClr val="65655B"/>
                </a:solidFill>
                <a:latin typeface="Calibri"/>
                <a:cs typeface="Calibri"/>
              </a:defRPr>
            </a:lvl4pPr>
            <a:lvl5pPr>
              <a:defRPr>
                <a:solidFill>
                  <a:srgbClr val="65655B"/>
                </a:solidFill>
                <a:latin typeface="Calibri"/>
                <a:cs typeface="Calibri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DCE61A3B-B98D-9440-9C05-9D98DA0F5DAC}"/>
              </a:ext>
            </a:extLst>
          </p:cNvPr>
          <p:cNvSpPr txBox="1">
            <a:spLocks/>
          </p:cNvSpPr>
          <p:nvPr userDrawn="1"/>
        </p:nvSpPr>
        <p:spPr>
          <a:xfrm>
            <a:off x="570942" y="-83730"/>
            <a:ext cx="8106399" cy="1143000"/>
          </a:xfrm>
          <a:prstGeom prst="rect">
            <a:avLst/>
          </a:prstGeom>
        </p:spPr>
        <p:txBody>
          <a:bodyPr vert="horz" lIns="0" tIns="60949" rIns="121899" bIns="0" rtlCol="0" anchor="b" anchorCtr="0">
            <a:normAutofit/>
          </a:bodyPr>
          <a:lstStyle>
            <a:lvl1pPr algn="l" defTabSz="609493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600" b="1" kern="1200" cap="none">
                <a:solidFill>
                  <a:srgbClr val="000000"/>
                </a:solidFill>
                <a:latin typeface="Calibri"/>
                <a:ea typeface="+mj-ea"/>
                <a:cs typeface="Calibri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en-US" sz="2400" dirty="0"/>
              <a:t>Click To Edit Master Text Styles Click To Edit Master Text Styles</a:t>
            </a:r>
          </a:p>
          <a:p>
            <a:pPr fontAlgn="auto">
              <a:spcAft>
                <a:spcPts val="0"/>
              </a:spcAft>
            </a:pPr>
            <a:r>
              <a:rPr lang="en-US" sz="2400" dirty="0"/>
              <a:t>tex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F7C723-AF8F-AA42-8811-F8FB565944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4211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238FDC98-08F9-DF45-8ACF-37949BAD1DCE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7026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837" y="125630"/>
            <a:ext cx="6770532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91056"/>
            <a:ext cx="8229600" cy="4535424"/>
          </a:xfrm>
        </p:spPr>
        <p:txBody>
          <a:bodyPr/>
          <a:lstStyle>
            <a:lvl1pPr>
              <a:buClr>
                <a:srgbClr val="003A6F"/>
              </a:buClr>
              <a:buSzPct val="100000"/>
              <a:buFont typeface="Arial" pitchFamily="34" charset="0"/>
              <a:buChar char="●"/>
              <a:defRPr/>
            </a:lvl1pPr>
            <a:lvl2pPr>
              <a:spcBef>
                <a:spcPts val="600"/>
              </a:spcBef>
              <a:buClr>
                <a:srgbClr val="005195"/>
              </a:buClr>
              <a:defRPr sz="2000"/>
            </a:lvl2pPr>
            <a:lvl3pPr>
              <a:buClr>
                <a:srgbClr val="005195"/>
              </a:buClr>
              <a:buFont typeface="Arial" pitchFamily="34" charset="0"/>
              <a:buChar char="–"/>
              <a:defRPr sz="2000"/>
            </a:lvl3pPr>
            <a:lvl4pPr>
              <a:buClr>
                <a:srgbClr val="005195"/>
              </a:buClr>
              <a:defRPr sz="2000"/>
            </a:lvl4pPr>
            <a:lvl5pPr>
              <a:buClr>
                <a:srgbClr val="005195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6672046" y="6443811"/>
            <a:ext cx="2133600" cy="365125"/>
          </a:xfrm>
        </p:spPr>
        <p:txBody>
          <a:bodyPr/>
          <a:lstStyle/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5959" y="977484"/>
            <a:ext cx="8376404" cy="462581"/>
          </a:xfrm>
        </p:spPr>
        <p:txBody>
          <a:bodyPr>
            <a:normAutofit/>
          </a:bodyPr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None/>
              <a:defRPr lang="en-US" sz="2000" b="1" i="1" kern="1200" dirty="0" smtClean="0">
                <a:solidFill>
                  <a:srgbClr val="00583B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0575" y="6515713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994127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837" y="125630"/>
            <a:ext cx="6770532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49" y="1597558"/>
            <a:ext cx="8229600" cy="5021568"/>
          </a:xfrm>
        </p:spPr>
        <p:txBody>
          <a:bodyPr/>
          <a:lstStyle>
            <a:lvl1pPr>
              <a:buClr>
                <a:srgbClr val="005195"/>
              </a:buClr>
              <a:buSzPct val="100000"/>
              <a:buFont typeface="Arial" pitchFamily="34" charset="0"/>
              <a:buChar char="●"/>
              <a:defRPr/>
            </a:lvl1pPr>
            <a:lvl2pPr>
              <a:spcBef>
                <a:spcPts val="600"/>
              </a:spcBef>
              <a:buClr>
                <a:srgbClr val="005195"/>
              </a:buClr>
              <a:defRPr/>
            </a:lvl2pPr>
            <a:lvl3pPr>
              <a:buClr>
                <a:srgbClr val="005195"/>
              </a:buClr>
              <a:buFont typeface="Arial" pitchFamily="34" charset="0"/>
              <a:buChar char="–"/>
              <a:defRPr/>
            </a:lvl3pPr>
            <a:lvl4pPr>
              <a:buClr>
                <a:srgbClr val="005195"/>
              </a:buClr>
              <a:defRPr/>
            </a:lvl4pPr>
            <a:lvl5pPr>
              <a:buClr>
                <a:srgbClr val="005195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6696318" y="6443811"/>
            <a:ext cx="2133600" cy="365125"/>
          </a:xfrm>
        </p:spPr>
        <p:txBody>
          <a:bodyPr/>
          <a:lstStyle/>
          <a:p>
            <a:fld id="{5918D847-AF05-4FB6-87D5-51AA994219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05153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Cover3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64" b="17484"/>
          <a:stretch/>
        </p:blipFill>
        <p:spPr>
          <a:xfrm>
            <a:off x="3175" y="1182249"/>
            <a:ext cx="9144000" cy="4845292"/>
          </a:xfrm>
          <a:prstGeom prst="rect">
            <a:avLst/>
          </a:prstGeom>
        </p:spPr>
      </p:pic>
      <p:pic>
        <p:nvPicPr>
          <p:cNvPr id="5" name="Picture 4" descr="PeaBodyEnergy_PMS301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4525"/>
            <a:ext cx="1593327" cy="541731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>
          <a:xfrm>
            <a:off x="4575175" y="644525"/>
            <a:ext cx="18473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13" name="Text Placeholder 7"/>
          <p:cNvSpPr txBox="1">
            <a:spLocks/>
          </p:cNvSpPr>
          <p:nvPr userDrawn="1"/>
        </p:nvSpPr>
        <p:spPr>
          <a:xfrm>
            <a:off x="5280566" y="5453988"/>
            <a:ext cx="3544921" cy="914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195"/>
              </a:buClr>
              <a:buSzTx/>
              <a:buFont typeface="Arial" pitchFamily="34" charset="0"/>
              <a:buNone/>
              <a:tabLst/>
              <a:defRPr sz="240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195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10253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   PeabodyEnergy.com</a:t>
            </a:r>
          </a:p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5195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1" i="1" u="none" strike="noStrike" kern="1200" cap="none" spc="0" normalizeH="0" baseline="0" noProof="0" dirty="0">
                <a:ln>
                  <a:noFill/>
                </a:ln>
                <a:solidFill>
                  <a:srgbClr val="10253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AdvancedEnergyForLife.com</a:t>
            </a:r>
          </a:p>
        </p:txBody>
      </p:sp>
    </p:spTree>
    <p:extLst>
      <p:ext uri="{BB962C8B-B14F-4D97-AF65-F5344CB8AC3E}">
        <p14:creationId xmlns:p14="http://schemas.microsoft.com/office/powerpoint/2010/main" val="427194720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837" y="125630"/>
            <a:ext cx="6770532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91056"/>
            <a:ext cx="8229600" cy="4535424"/>
          </a:xfrm>
        </p:spPr>
        <p:txBody>
          <a:bodyPr/>
          <a:lstStyle>
            <a:lvl1pPr>
              <a:buClr>
                <a:srgbClr val="0066A4"/>
              </a:buClr>
              <a:buSzPct val="100000"/>
              <a:buFont typeface="Arial" pitchFamily="34" charset="0"/>
              <a:buChar char="●"/>
              <a:defRPr/>
            </a:lvl1pPr>
            <a:lvl2pPr>
              <a:spcBef>
                <a:spcPts val="600"/>
              </a:spcBef>
              <a:buClr>
                <a:srgbClr val="005195"/>
              </a:buClr>
              <a:defRPr sz="2000"/>
            </a:lvl2pPr>
            <a:lvl3pPr>
              <a:buClr>
                <a:srgbClr val="005195"/>
              </a:buClr>
              <a:buFont typeface="Arial" pitchFamily="34" charset="0"/>
              <a:buChar char="–"/>
              <a:defRPr sz="2000"/>
            </a:lvl3pPr>
            <a:lvl4pPr>
              <a:buClr>
                <a:srgbClr val="005195"/>
              </a:buClr>
              <a:defRPr sz="2000"/>
            </a:lvl4pPr>
            <a:lvl5pPr>
              <a:buClr>
                <a:srgbClr val="005195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6672046" y="6443811"/>
            <a:ext cx="2133600" cy="365125"/>
          </a:xfrm>
        </p:spPr>
        <p:txBody>
          <a:bodyPr/>
          <a:lstStyle>
            <a:lvl1pPr>
              <a:defRPr>
                <a:solidFill>
                  <a:srgbClr val="0066A4"/>
                </a:solidFill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5959" y="977484"/>
            <a:ext cx="8376404" cy="462581"/>
          </a:xfrm>
        </p:spPr>
        <p:txBody>
          <a:bodyPr>
            <a:normAutofit/>
          </a:bodyPr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None/>
              <a:defRPr lang="en-US" sz="2000" b="1" i="1" kern="1200" dirty="0" smtClean="0">
                <a:solidFill>
                  <a:srgbClr val="00583B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ea typeface="ＭＳ Ｐゴシック" pitchFamily="34" charset="-128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0575" y="6515713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228476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0913" y="982025"/>
            <a:ext cx="8381450" cy="457200"/>
          </a:xfrm>
        </p:spPr>
        <p:txBody>
          <a:bodyPr>
            <a:normAutofit/>
          </a:bodyPr>
          <a:lstStyle>
            <a:lvl1pPr marL="0" indent="0">
              <a:buNone/>
              <a:defRPr lang="en-US" sz="2000" b="1" i="1" kern="1200" dirty="0" smtClean="0">
                <a:solidFill>
                  <a:srgbClr val="00583B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ea typeface="ＭＳ Ｐゴシック" pitchFamily="34" charset="-128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 b="1">
                <a:solidFill>
                  <a:srgbClr val="0066A4"/>
                </a:solidFill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0575" y="6515713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92339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886" y="123569"/>
            <a:ext cx="6794385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 b="1">
                <a:solidFill>
                  <a:srgbClr val="0066A4"/>
                </a:solidFill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56350" y="971588"/>
            <a:ext cx="8386014" cy="481848"/>
          </a:xfrm>
        </p:spPr>
        <p:txBody>
          <a:bodyPr>
            <a:normAutofit/>
          </a:bodyPr>
          <a:lstStyle>
            <a:lvl1pPr marL="0" indent="0">
              <a:buNone/>
              <a:defRPr lang="en-US" sz="2000" b="1" i="1" kern="1200" dirty="0" smtClean="0">
                <a:solidFill>
                  <a:srgbClr val="00583B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ea typeface="ＭＳ Ｐゴシック" pitchFamily="34" charset="-128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0575" y="6515713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61339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42989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9"/>
          <p:cNvSpPr>
            <a:spLocks noGrp="1"/>
          </p:cNvSpPr>
          <p:nvPr>
            <p:ph type="body" sz="quarter" idx="10"/>
          </p:nvPr>
        </p:nvSpPr>
        <p:spPr bwMode="gray">
          <a:xfrm>
            <a:off x="3538728" y="4361688"/>
            <a:ext cx="2066544" cy="366527"/>
          </a:xfrm>
        </p:spPr>
        <p:txBody>
          <a:bodyPr>
            <a:normAutofit/>
          </a:bodyPr>
          <a:lstStyle>
            <a:lvl1pPr marL="0" indent="0" algn="ctr" rtl="0" eaLnBrk="1" fontAlgn="auto" hangingPunct="1">
              <a:spcBef>
                <a:spcPct val="20000"/>
              </a:spcBef>
              <a:spcAft>
                <a:spcPts val="0"/>
              </a:spcAft>
              <a:buClr>
                <a:srgbClr val="003A6F"/>
              </a:buClr>
              <a:buNone/>
              <a:defRPr lang="en-US" sz="1600" b="1" i="1" kern="120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</a:t>
            </a:r>
          </a:p>
        </p:txBody>
      </p:sp>
      <p:sp>
        <p:nvSpPr>
          <p:cNvPr id="3" name="Title 1"/>
          <p:cNvSpPr>
            <a:spLocks noGrp="1"/>
          </p:cNvSpPr>
          <p:nvPr>
            <p:ph type="ctrTitle"/>
          </p:nvPr>
        </p:nvSpPr>
        <p:spPr bwMode="gray">
          <a:xfrm>
            <a:off x="457200" y="2944368"/>
            <a:ext cx="8275835" cy="1050674"/>
          </a:xfrm>
        </p:spPr>
        <p:txBody>
          <a:bodyPr anchor="t">
            <a:normAutofit/>
          </a:bodyPr>
          <a:lstStyle>
            <a:lvl1pPr mar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None/>
              <a:defRPr lang="en-US" sz="2800" b="1" i="1" kern="1200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0908" y="162010"/>
            <a:ext cx="1907487" cy="635440"/>
          </a:xfrm>
          <a:prstGeom prst="rect">
            <a:avLst/>
          </a:prstGeom>
        </p:spPr>
      </p:pic>
      <p:sp>
        <p:nvSpPr>
          <p:cNvPr id="6" name="Text Placehold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13816" y="5705856"/>
            <a:ext cx="2916936" cy="539496"/>
          </a:xfrm>
        </p:spPr>
        <p:txBody>
          <a:bodyPr>
            <a:normAutofit/>
          </a:bodyPr>
          <a:lstStyle>
            <a:lvl1pPr marL="0" indent="0" algn="l" rtl="0" eaLnBrk="1" fontAlgn="auto" hangingPunct="1">
              <a:spcBef>
                <a:spcPct val="20000"/>
              </a:spcBef>
              <a:spcAft>
                <a:spcPts val="0"/>
              </a:spcAft>
              <a:buClr>
                <a:srgbClr val="003A6F"/>
              </a:buClr>
              <a:buNone/>
              <a:defRPr lang="en-US" sz="1600" b="1" i="1" kern="1200" baseline="0" dirty="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Arial" pitchFamily="34" charset="0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Presenter Name</a:t>
            </a:r>
          </a:p>
          <a:p>
            <a:pPr lvl="0"/>
            <a:r>
              <a:rPr lang="en-US" dirty="0"/>
              <a:t>Presenter Title</a:t>
            </a:r>
          </a:p>
        </p:txBody>
      </p:sp>
    </p:spTree>
    <p:extLst>
      <p:ext uri="{BB962C8B-B14F-4D97-AF65-F5344CB8AC3E}">
        <p14:creationId xmlns:p14="http://schemas.microsoft.com/office/powerpoint/2010/main" val="9879834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69917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886" y="123569"/>
            <a:ext cx="6794385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 b="1"/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56350" y="971588"/>
            <a:ext cx="8386014" cy="481848"/>
          </a:xfrm>
        </p:spPr>
        <p:txBody>
          <a:bodyPr>
            <a:normAutofit/>
          </a:bodyPr>
          <a:lstStyle>
            <a:lvl1pPr marL="0" indent="0">
              <a:buNone/>
              <a:defRPr lang="en-US" sz="2000" b="1" i="1" kern="1200" dirty="0" smtClean="0">
                <a:solidFill>
                  <a:srgbClr val="00583B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0575" y="6515713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28634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823F781-46D3-2541-97E3-D13F8605EE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50532"/>
            <a:ext cx="9211376" cy="6908532"/>
          </a:xfrm>
          <a:prstGeom prst="rect">
            <a:avLst/>
          </a:prstGeom>
        </p:spPr>
      </p:pic>
      <p:pic>
        <p:nvPicPr>
          <p:cNvPr id="5" name="Picture 4" descr="PeaBody_logo_RGB.png">
            <a:extLst>
              <a:ext uri="{FF2B5EF4-FFF2-40B4-BE49-F238E27FC236}">
                <a16:creationId xmlns:a16="http://schemas.microsoft.com/office/drawing/2014/main" id="{EC98EF58-2B03-6B49-BB73-D9A597FB9E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4719" y="4928535"/>
            <a:ext cx="1467810" cy="488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8196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0913" y="982025"/>
            <a:ext cx="8381450" cy="457200"/>
          </a:xfrm>
        </p:spPr>
        <p:txBody>
          <a:bodyPr>
            <a:normAutofit/>
          </a:bodyPr>
          <a:lstStyle>
            <a:lvl1pPr marL="0" indent="0">
              <a:buNone/>
              <a:defRPr lang="en-US" sz="2000" b="1" i="1" kern="1200" dirty="0" smtClean="0">
                <a:solidFill>
                  <a:srgbClr val="00583B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 panose="020F0502020204030204" pitchFamily="34" charset="0"/>
                <a:ea typeface="ＭＳ Ｐゴシック" pitchFamily="34" charset="-128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400">
                <a:latin typeface="Calibri" panose="020F0502020204030204" pitchFamily="34" charset="0"/>
              </a:defRPr>
            </a:lvl1pPr>
            <a:lvl2pPr>
              <a:defRPr sz="2000">
                <a:latin typeface="Calibri" panose="020F0502020204030204" pitchFamily="34" charset="0"/>
              </a:defRPr>
            </a:lvl2pPr>
            <a:lvl3pPr>
              <a:defRPr sz="2000">
                <a:latin typeface="Calibri" panose="020F0502020204030204" pitchFamily="34" charset="0"/>
              </a:defRPr>
            </a:lvl3pPr>
            <a:lvl4pPr>
              <a:defRPr sz="2000">
                <a:latin typeface="Calibri" panose="020F0502020204030204" pitchFamily="34" charset="0"/>
              </a:defRPr>
            </a:lvl4pPr>
            <a:lvl5pPr>
              <a:defRPr sz="2000">
                <a:latin typeface="Calibri" panose="020F0502020204030204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 b="1">
                <a:solidFill>
                  <a:srgbClr val="0066A4"/>
                </a:solidFill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0575" y="6515717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027685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21256A-BD1A-46EF-9625-5CF17FD71B6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52526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837" y="125630"/>
            <a:ext cx="6770532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49" y="1597558"/>
            <a:ext cx="8229600" cy="5021568"/>
          </a:xfrm>
        </p:spPr>
        <p:txBody>
          <a:bodyPr/>
          <a:lstStyle>
            <a:lvl1pPr>
              <a:buClr>
                <a:srgbClr val="005195"/>
              </a:buClr>
              <a:buSzPct val="100000"/>
              <a:buFont typeface="Arial" pitchFamily="34" charset="0"/>
              <a:buChar char="●"/>
              <a:defRPr/>
            </a:lvl1pPr>
            <a:lvl2pPr>
              <a:spcBef>
                <a:spcPts val="600"/>
              </a:spcBef>
              <a:buClr>
                <a:srgbClr val="005195"/>
              </a:buClr>
              <a:defRPr/>
            </a:lvl2pPr>
            <a:lvl3pPr>
              <a:buClr>
                <a:srgbClr val="005195"/>
              </a:buClr>
              <a:buFont typeface="Arial" pitchFamily="34" charset="0"/>
              <a:buChar char="–"/>
              <a:defRPr/>
            </a:lvl3pPr>
            <a:lvl4pPr>
              <a:buClr>
                <a:srgbClr val="005195"/>
              </a:buClr>
              <a:defRPr/>
            </a:lvl4pPr>
            <a:lvl5pPr>
              <a:buClr>
                <a:srgbClr val="005195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6719888" y="6443663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AB6B29-8283-4EB0-B712-E3B4701E595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0460153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D114E8-3A53-4114-8F9E-981BF13304E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38607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5886" y="123569"/>
            <a:ext cx="6794385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 b="1"/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56350" y="971588"/>
            <a:ext cx="8386014" cy="481848"/>
          </a:xfrm>
        </p:spPr>
        <p:txBody>
          <a:bodyPr>
            <a:normAutofit/>
          </a:bodyPr>
          <a:lstStyle>
            <a:lvl1pPr marL="0" indent="0">
              <a:buNone/>
              <a:defRPr lang="en-US" sz="2000" b="1" i="1" kern="1200" dirty="0" smtClean="0">
                <a:solidFill>
                  <a:srgbClr val="00583B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0575" y="6515713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61753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3837" y="125630"/>
            <a:ext cx="6770532" cy="800696"/>
          </a:xfrm>
        </p:spPr>
        <p:txBody>
          <a:bodyPr/>
          <a:lstStyle>
            <a:lvl1pPr>
              <a:lnSpc>
                <a:spcPct val="90000"/>
              </a:lnSpc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249" y="1597558"/>
            <a:ext cx="8229600" cy="5021568"/>
          </a:xfrm>
        </p:spPr>
        <p:txBody>
          <a:bodyPr/>
          <a:lstStyle>
            <a:lvl1pPr>
              <a:buClr>
                <a:srgbClr val="003A6F"/>
              </a:buClr>
              <a:buSzPct val="100000"/>
              <a:buFont typeface="Arial" pitchFamily="34" charset="0"/>
              <a:buChar char="●"/>
              <a:defRPr/>
            </a:lvl1pPr>
            <a:lvl2pPr>
              <a:spcBef>
                <a:spcPts val="600"/>
              </a:spcBef>
              <a:buClr>
                <a:srgbClr val="005195"/>
              </a:buClr>
              <a:defRPr sz="2000"/>
            </a:lvl2pPr>
            <a:lvl3pPr>
              <a:buClr>
                <a:srgbClr val="005195"/>
              </a:buClr>
              <a:buFont typeface="Arial" pitchFamily="34" charset="0"/>
              <a:buChar char="–"/>
              <a:defRPr sz="2000"/>
            </a:lvl3pPr>
            <a:lvl4pPr>
              <a:buClr>
                <a:srgbClr val="005195"/>
              </a:buClr>
              <a:defRPr sz="2000"/>
            </a:lvl4pPr>
            <a:lvl5pPr>
              <a:buClr>
                <a:srgbClr val="005195"/>
              </a:buClr>
              <a:buFont typeface="Arial" pitchFamily="34" charset="0"/>
              <a:buChar char="–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>
          <a:xfrm>
            <a:off x="6672046" y="6443811"/>
            <a:ext cx="2133600" cy="365125"/>
          </a:xfrm>
        </p:spPr>
        <p:txBody>
          <a:bodyPr/>
          <a:lstStyle/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65959" y="977484"/>
            <a:ext cx="8376404" cy="462581"/>
          </a:xfrm>
        </p:spPr>
        <p:txBody>
          <a:bodyPr>
            <a:normAutofit/>
          </a:bodyPr>
          <a:lstStyle>
            <a:lvl1pPr marL="0" indent="0" algn="l" rtl="0" eaLnBrk="0" fontAlgn="base" hangingPunct="0">
              <a:spcBef>
                <a:spcPct val="50000"/>
              </a:spcBef>
              <a:spcAft>
                <a:spcPct val="0"/>
              </a:spcAft>
              <a:buNone/>
              <a:defRPr lang="en-US" sz="2000" b="1" i="1" kern="1200" dirty="0" smtClean="0">
                <a:solidFill>
                  <a:srgbClr val="00583B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+mn-cs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370575" y="6515713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41105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100" b="1"/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60913" y="982025"/>
            <a:ext cx="8381450" cy="457200"/>
          </a:xfrm>
        </p:spPr>
        <p:txBody>
          <a:bodyPr>
            <a:normAutofit/>
          </a:bodyPr>
          <a:lstStyle>
            <a:lvl1pPr marL="0" indent="0">
              <a:buNone/>
              <a:defRPr lang="en-US" sz="2000" b="1" i="1" kern="1200" dirty="0" smtClean="0">
                <a:solidFill>
                  <a:srgbClr val="00583B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370575" y="6515713"/>
            <a:ext cx="8080408" cy="39052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22140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.jpe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4.jp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4.jp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6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5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10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9.jpeg"/><Relationship Id="rId5" Type="http://schemas.openxmlformats.org/officeDocument/2006/relationships/slideLayout" Target="../slideLayouts/slideLayout34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2011 PwrPntTmplts-PMS301_5-193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3175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886" y="123569"/>
            <a:ext cx="6728682" cy="800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90261"/>
            <a:ext cx="8229600" cy="45359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72465" y="64438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003A6F"/>
                </a:solidFill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9183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700" r:id="rId2"/>
    <p:sldLayoutId id="2147483692" r:id="rId3"/>
    <p:sldLayoutId id="2147483701" r:id="rId4"/>
    <p:sldLayoutId id="2147483702" r:id="rId5"/>
    <p:sldLayoutId id="2147483704" r:id="rId6"/>
    <p:sldLayoutId id="2147483705" r:id="rId7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600"/>
        </a:spcBef>
        <a:buClr>
          <a:srgbClr val="005195"/>
        </a:buClr>
        <a:buFont typeface="Arial" pitchFamily="34" charset="0"/>
        <a:buChar char="●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5195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5195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5195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5195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2011 PwrPntTmplts-PMS301_5-193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886" y="123569"/>
            <a:ext cx="6728682" cy="800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90261"/>
            <a:ext cx="8229600" cy="45359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600" dirty="0"/>
              <a:t>Fourth level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72465" y="64438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003A69"/>
                </a:solidFill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6438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9" r:id="rId3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600"/>
        </a:spcBef>
        <a:buClr>
          <a:srgbClr val="003A6F"/>
        </a:buClr>
        <a:buFont typeface="Arial" pitchFamily="34" charset="0"/>
        <a:buChar char="●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3A6F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3A6F"/>
        </a:buClr>
        <a:buFont typeface="Arial" pitchFamily="34" charset="0"/>
        <a:buChar char="–"/>
        <a:defRPr sz="18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3A6F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3A6F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E68253E-6366-004E-881F-67BC697EC79D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0" y="1335"/>
            <a:ext cx="9144000" cy="12573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259585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16" imgH="216" progId="TCLayout.ActiveDocument.1">
                  <p:embed/>
                </p:oleObj>
              </mc:Choice>
              <mc:Fallback>
                <p:oleObj name="think-cell Slide" r:id="rId1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8877" y="255181"/>
            <a:ext cx="8031723" cy="79089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ext Styles 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427185" y="1277885"/>
            <a:ext cx="8159424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11" name="Picture 10" descr="PeaBody_logo_RGB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96" y="6355515"/>
            <a:ext cx="1119726" cy="372309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3AEF600-F32A-EA45-A8A8-E9645F5FC7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fld id="{25EA848A-B8CC-4C15-BD4B-38E3B5AB0A81}" type="slidenum">
              <a:rPr lang="en-US" smtClean="0"/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CFBA1E7-6073-A94C-BB80-68F36072F20C}"/>
              </a:ext>
            </a:extLst>
          </p:cNvPr>
          <p:cNvSpPr/>
          <p:nvPr userDrawn="1"/>
        </p:nvSpPr>
        <p:spPr>
          <a:xfrm>
            <a:off x="8288225" y="6429441"/>
            <a:ext cx="298383" cy="298383"/>
          </a:xfrm>
          <a:prstGeom prst="ellipse">
            <a:avLst/>
          </a:prstGeom>
          <a:noFill/>
          <a:ln>
            <a:solidFill>
              <a:srgbClr val="CFC33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E5372BE-9903-784C-9B0D-89261A3EE2DC}"/>
              </a:ext>
            </a:extLst>
          </p:cNvPr>
          <p:cNvSpPr/>
          <p:nvPr userDrawn="1"/>
        </p:nvSpPr>
        <p:spPr>
          <a:xfrm>
            <a:off x="8610600" y="1034540"/>
            <a:ext cx="334537" cy="2240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6576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  <p:sldLayoutId id="2147483725" r:id="rId8"/>
    <p:sldLayoutId id="2147483732" r:id="rId9"/>
    <p:sldLayoutId id="2147483996" r:id="rId10"/>
  </p:sldLayoutIdLst>
  <p:hf hdr="0" ftr="0" dt="0"/>
  <p:txStyles>
    <p:titleStyle>
      <a:lvl1pPr algn="l" defTabSz="609493" rtl="0" eaLnBrk="1" latinLnBrk="0" hangingPunct="1">
        <a:lnSpc>
          <a:spcPts val="2600"/>
        </a:lnSpc>
        <a:spcBef>
          <a:spcPct val="0"/>
        </a:spcBef>
        <a:buNone/>
        <a:defRPr sz="2400" b="1" kern="1200" cap="none">
          <a:solidFill>
            <a:srgbClr val="000000"/>
          </a:solidFill>
          <a:latin typeface="Calibri"/>
          <a:ea typeface="+mj-ea"/>
          <a:cs typeface="Calibri"/>
        </a:defRPr>
      </a:lvl1pPr>
    </p:titleStyle>
    <p:bodyStyle>
      <a:lvl1pPr marL="454025" indent="-339725" algn="l" defTabSz="609493" rtl="0" eaLnBrk="1" latinLnBrk="0" hangingPunct="1">
        <a:spcBef>
          <a:spcPct val="20000"/>
        </a:spcBef>
        <a:buFont typeface="Lucida Grande"/>
        <a:buChar char="●"/>
        <a:defRPr sz="2200" kern="1200">
          <a:solidFill>
            <a:srgbClr val="000000"/>
          </a:solidFill>
          <a:latin typeface="Calibri"/>
          <a:ea typeface="+mn-ea"/>
          <a:cs typeface="Calibri"/>
        </a:defRPr>
      </a:lvl1pPr>
      <a:lvl2pPr marL="990427" indent="-380933" algn="l" defTabSz="609493" rtl="0" eaLnBrk="1" latinLnBrk="0" hangingPunct="1">
        <a:spcBef>
          <a:spcPct val="20000"/>
        </a:spcBef>
        <a:buClr>
          <a:srgbClr val="65655B"/>
        </a:buClr>
        <a:buFont typeface="Arial"/>
        <a:buChar char="–"/>
        <a:defRPr sz="1800" kern="1200">
          <a:solidFill>
            <a:srgbClr val="000000"/>
          </a:solidFill>
          <a:latin typeface="Calibri"/>
          <a:ea typeface="+mn-ea"/>
          <a:cs typeface="Calibri"/>
        </a:defRPr>
      </a:lvl2pPr>
      <a:lvl3pPr marL="1523733" indent="-304747" algn="l" defTabSz="609493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000000"/>
          </a:solidFill>
          <a:latin typeface="Calibri"/>
          <a:ea typeface="+mn-ea"/>
          <a:cs typeface="Calibri"/>
        </a:defRPr>
      </a:lvl3pPr>
      <a:lvl4pPr marL="2133227" indent="-304747" algn="l" defTabSz="609493" rtl="0" eaLnBrk="1" latinLnBrk="0" hangingPunct="1">
        <a:spcBef>
          <a:spcPct val="20000"/>
        </a:spcBef>
        <a:buFont typeface="Arial"/>
        <a:buChar char="–"/>
        <a:defRPr sz="1600" kern="1200">
          <a:solidFill>
            <a:srgbClr val="000000"/>
          </a:solidFill>
          <a:latin typeface="Calibri"/>
          <a:ea typeface="+mn-ea"/>
          <a:cs typeface="Calibri"/>
        </a:defRPr>
      </a:lvl4pPr>
      <a:lvl5pPr marL="2742720" indent="-304747" algn="l" defTabSz="609493" rtl="0" eaLnBrk="1" latinLnBrk="0" hangingPunct="1">
        <a:spcBef>
          <a:spcPct val="20000"/>
        </a:spcBef>
        <a:buFont typeface="Arial"/>
        <a:buChar char="»"/>
        <a:defRPr sz="1600" kern="1200">
          <a:solidFill>
            <a:srgbClr val="000000"/>
          </a:solidFill>
          <a:latin typeface="Calibri"/>
          <a:ea typeface="+mn-ea"/>
          <a:cs typeface="Calibri"/>
        </a:defRPr>
      </a:lvl5pPr>
      <a:lvl6pPr marL="335221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4" userDrawn="1">
          <p15:clr>
            <a:srgbClr val="F26B43"/>
          </p15:clr>
        </p15:guide>
        <p15:guide id="2" pos="360" userDrawn="1">
          <p15:clr>
            <a:srgbClr val="F26B43"/>
          </p15:clr>
        </p15:guide>
        <p15:guide id="3" pos="2980" userDrawn="1">
          <p15:clr>
            <a:srgbClr val="F26B43"/>
          </p15:clr>
        </p15:guide>
        <p15:guide id="4" pos="5424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BE68253E-6366-004E-881F-67BC697EC79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0" y="1335"/>
            <a:ext cx="9144000" cy="12573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6930534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78877" y="255181"/>
            <a:ext cx="8031723" cy="79089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ext Styles Click To Edit Master </a:t>
            </a:r>
            <a:br>
              <a:rPr lang="en-US" dirty="0"/>
            </a:br>
            <a:r>
              <a:rPr lang="en-US" dirty="0"/>
              <a:t>Text Styl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427185" y="1277885"/>
            <a:ext cx="8159424" cy="452596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11" name="Picture 10" descr="PeaBody_logo_RGB.pn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96" y="6355515"/>
            <a:ext cx="1119726" cy="372309"/>
          </a:xfrm>
          <a:prstGeom prst="rect">
            <a:avLst/>
          </a:prstGeom>
        </p:spPr>
      </p:pic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33AEF600-F32A-EA45-A8A8-E9645F5FC7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171328" y="6396069"/>
            <a:ext cx="532176" cy="365125"/>
          </a:xfrm>
          <a:prstGeom prst="rect">
            <a:avLst/>
          </a:prstGeom>
        </p:spPr>
        <p:txBody>
          <a:bodyPr vert="horz" lIns="121899" tIns="60949" rIns="121899" bIns="60949" rtlCol="0" anchor="ctr" anchorCtr="1"/>
          <a:lstStyle>
            <a:lvl1pPr algn="ctr">
              <a:defRPr sz="1200">
                <a:solidFill>
                  <a:srgbClr val="65655B"/>
                </a:solidFill>
                <a:latin typeface="+mj-lt"/>
                <a:cs typeface="Arial"/>
              </a:defRPr>
            </a:lvl1pPr>
          </a:lstStyle>
          <a:p>
            <a:pPr defTabSz="457200" eaLnBrk="1" fontAlgn="auto" hangingPunct="1">
              <a:spcBef>
                <a:spcPts val="0"/>
              </a:spcBef>
              <a:spcAft>
                <a:spcPts val="0"/>
              </a:spcAft>
            </a:pPr>
            <a:fld id="{25EA848A-B8CC-4C15-BD4B-38E3B5AB0A81}" type="slidenum">
              <a:rPr lang="en-US" smtClean="0"/>
              <a:pPr defTabSz="457200"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CFBA1E7-6073-A94C-BB80-68F36072F20C}"/>
              </a:ext>
            </a:extLst>
          </p:cNvPr>
          <p:cNvSpPr/>
          <p:nvPr userDrawn="1"/>
        </p:nvSpPr>
        <p:spPr>
          <a:xfrm>
            <a:off x="8288225" y="6429441"/>
            <a:ext cx="298383" cy="298383"/>
          </a:xfrm>
          <a:prstGeom prst="ellipse">
            <a:avLst/>
          </a:prstGeom>
          <a:noFill/>
          <a:ln>
            <a:solidFill>
              <a:srgbClr val="CFC33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E5372BE-9903-784C-9B0D-89261A3EE2DC}"/>
              </a:ext>
            </a:extLst>
          </p:cNvPr>
          <p:cNvSpPr/>
          <p:nvPr userDrawn="1"/>
        </p:nvSpPr>
        <p:spPr>
          <a:xfrm>
            <a:off x="8610600" y="1034540"/>
            <a:ext cx="334537" cy="22409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862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998" r:id="rId8"/>
    <p:sldLayoutId id="2147484000" r:id="rId9"/>
  </p:sldLayoutIdLst>
  <p:hf hdr="0" ftr="0" dt="0"/>
  <p:txStyles>
    <p:titleStyle>
      <a:lvl1pPr algn="l" defTabSz="609493" rtl="0" eaLnBrk="1" latinLnBrk="0" hangingPunct="1">
        <a:lnSpc>
          <a:spcPts val="2600"/>
        </a:lnSpc>
        <a:spcBef>
          <a:spcPct val="0"/>
        </a:spcBef>
        <a:buNone/>
        <a:defRPr sz="2400" b="1" kern="1200" cap="none">
          <a:solidFill>
            <a:srgbClr val="000000"/>
          </a:solidFill>
          <a:latin typeface="Calibri"/>
          <a:ea typeface="+mj-ea"/>
          <a:cs typeface="Calibri"/>
        </a:defRPr>
      </a:lvl1pPr>
    </p:titleStyle>
    <p:bodyStyle>
      <a:lvl1pPr marL="454025" indent="-339725" algn="l" defTabSz="609493" rtl="0" eaLnBrk="1" latinLnBrk="0" hangingPunct="1">
        <a:spcBef>
          <a:spcPct val="20000"/>
        </a:spcBef>
        <a:buFont typeface="Lucida Grande"/>
        <a:buChar char="●"/>
        <a:defRPr sz="2200" kern="1200">
          <a:solidFill>
            <a:srgbClr val="000000"/>
          </a:solidFill>
          <a:latin typeface="Calibri"/>
          <a:ea typeface="+mn-ea"/>
          <a:cs typeface="Calibri"/>
        </a:defRPr>
      </a:lvl1pPr>
      <a:lvl2pPr marL="990427" indent="-380933" algn="l" defTabSz="609493" rtl="0" eaLnBrk="1" latinLnBrk="0" hangingPunct="1">
        <a:spcBef>
          <a:spcPct val="20000"/>
        </a:spcBef>
        <a:buClr>
          <a:srgbClr val="65655B"/>
        </a:buClr>
        <a:buFont typeface="Arial"/>
        <a:buChar char="–"/>
        <a:defRPr sz="1800" kern="1200">
          <a:solidFill>
            <a:srgbClr val="000000"/>
          </a:solidFill>
          <a:latin typeface="Calibri"/>
          <a:ea typeface="+mn-ea"/>
          <a:cs typeface="Calibri"/>
        </a:defRPr>
      </a:lvl2pPr>
      <a:lvl3pPr marL="1523733" indent="-304747" algn="l" defTabSz="609493" rtl="0" eaLnBrk="1" latinLnBrk="0" hangingPunct="1">
        <a:spcBef>
          <a:spcPct val="20000"/>
        </a:spcBef>
        <a:buFont typeface="Arial"/>
        <a:buChar char="•"/>
        <a:defRPr sz="1800" kern="1200">
          <a:solidFill>
            <a:srgbClr val="000000"/>
          </a:solidFill>
          <a:latin typeface="Calibri"/>
          <a:ea typeface="+mn-ea"/>
          <a:cs typeface="Calibri"/>
        </a:defRPr>
      </a:lvl3pPr>
      <a:lvl4pPr marL="2133227" indent="-304747" algn="l" defTabSz="609493" rtl="0" eaLnBrk="1" latinLnBrk="0" hangingPunct="1">
        <a:spcBef>
          <a:spcPct val="20000"/>
        </a:spcBef>
        <a:buFont typeface="Arial"/>
        <a:buChar char="–"/>
        <a:defRPr sz="1600" kern="1200">
          <a:solidFill>
            <a:srgbClr val="000000"/>
          </a:solidFill>
          <a:latin typeface="Calibri"/>
          <a:ea typeface="+mn-ea"/>
          <a:cs typeface="Calibri"/>
        </a:defRPr>
      </a:lvl4pPr>
      <a:lvl5pPr marL="2742720" indent="-304747" algn="l" defTabSz="609493" rtl="0" eaLnBrk="1" latinLnBrk="0" hangingPunct="1">
        <a:spcBef>
          <a:spcPct val="20000"/>
        </a:spcBef>
        <a:buFont typeface="Arial"/>
        <a:buChar char="»"/>
        <a:defRPr sz="1600" kern="1200">
          <a:solidFill>
            <a:srgbClr val="000000"/>
          </a:solidFill>
          <a:latin typeface="Calibri"/>
          <a:ea typeface="+mn-ea"/>
          <a:cs typeface="Calibri"/>
        </a:defRPr>
      </a:lvl5pPr>
      <a:lvl6pPr marL="335221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6pPr>
      <a:lvl7pPr marL="3961707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200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8pPr>
      <a:lvl9pPr marL="5180693" indent="-304747" algn="l" defTabSz="609493" rtl="0" eaLnBrk="1" latinLnBrk="0" hangingPunct="1">
        <a:spcBef>
          <a:spcPct val="20000"/>
        </a:spcBef>
        <a:buFont typeface="Arial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9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8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8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7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46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960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453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947" algn="l" defTabSz="609493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24" userDrawn="1">
          <p15:clr>
            <a:srgbClr val="F26B43"/>
          </p15:clr>
        </p15:guide>
        <p15:guide id="2" pos="360" userDrawn="1">
          <p15:clr>
            <a:srgbClr val="F26B43"/>
          </p15:clr>
        </p15:guide>
        <p15:guide id="3" pos="2980" userDrawn="1">
          <p15:clr>
            <a:srgbClr val="F26B43"/>
          </p15:clr>
        </p15:guide>
        <p15:guide id="4" pos="5424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00519F42-B299-644B-A4E8-603BFD14F2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7115" b="-9682"/>
          <a:stretch/>
        </p:blipFill>
        <p:spPr>
          <a:xfrm>
            <a:off x="168966" y="659021"/>
            <a:ext cx="8493493" cy="40728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5886" y="123569"/>
            <a:ext cx="6728682" cy="80069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90261"/>
            <a:ext cx="8229600" cy="45359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sz="1600" dirty="0"/>
              <a:t>Fourth level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72465" y="644381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0066A4"/>
                </a:solidFill>
              </a:defRPr>
            </a:lvl1pPr>
          </a:lstStyle>
          <a:p>
            <a:fld id="{25EA848A-B8CC-4C15-BD4B-38E3B5AB0A81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/>
          <p:cNvPicPr/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85528" y="232639"/>
            <a:ext cx="1576931" cy="52532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19093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10" r:id="rId9"/>
  </p:sldLayoutIdLst>
  <p:hf hd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600" b="1" kern="1200">
          <a:solidFill>
            <a:schemeClr val="tx1"/>
          </a:solidFill>
          <a:latin typeface="Calibri" panose="020F0502020204030204" pitchFamily="34" charset="0"/>
          <a:ea typeface="+mj-ea"/>
          <a:cs typeface="Arial" pitchFamily="34" charset="0"/>
        </a:defRPr>
      </a:lvl1pPr>
    </p:titleStyle>
    <p:bodyStyle>
      <a:lvl1pPr marL="342900" indent="-342900" algn="l" defTabSz="914400" rtl="0" eaLnBrk="1" latinLnBrk="0" hangingPunct="1">
        <a:spcBef>
          <a:spcPts val="600"/>
        </a:spcBef>
        <a:buClr>
          <a:srgbClr val="0066A4"/>
        </a:buClr>
        <a:buFont typeface="Arial" pitchFamily="34" charset="0"/>
        <a:buChar char="●"/>
        <a:defRPr sz="2400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ts val="600"/>
        </a:spcBef>
        <a:buClr>
          <a:srgbClr val="003A6F"/>
        </a:buClr>
        <a:buFont typeface="Arial" pitchFamily="34" charset="0"/>
        <a:buChar char="–"/>
        <a:defRPr sz="2000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2pPr>
      <a:lvl3pPr marL="1143000" indent="-228600" algn="l" defTabSz="914400" rtl="0" eaLnBrk="1" latinLnBrk="0" hangingPunct="1">
        <a:spcBef>
          <a:spcPts val="600"/>
        </a:spcBef>
        <a:buClr>
          <a:srgbClr val="003A6F"/>
        </a:buClr>
        <a:buFont typeface="Arial" pitchFamily="34" charset="0"/>
        <a:buChar char="–"/>
        <a:defRPr sz="1800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3pPr>
      <a:lvl4pPr marL="1600200" indent="-228600" algn="l" defTabSz="914400" rtl="0" eaLnBrk="1" latinLnBrk="0" hangingPunct="1">
        <a:spcBef>
          <a:spcPts val="600"/>
        </a:spcBef>
        <a:buClr>
          <a:srgbClr val="003A6F"/>
        </a:buClr>
        <a:buFont typeface="Arial" pitchFamily="34" charset="0"/>
        <a:buChar char="–"/>
        <a:defRPr sz="1600" kern="1200">
          <a:solidFill>
            <a:schemeClr val="tx1"/>
          </a:solidFill>
          <a:latin typeface="Calibri" panose="020F0502020204030204" pitchFamily="34" charset="0"/>
          <a:ea typeface="+mn-ea"/>
          <a:cs typeface="Arial" pitchFamily="34" charset="0"/>
        </a:defRPr>
      </a:lvl4pPr>
      <a:lvl5pPr marL="2057400" indent="-228600" algn="l" defTabSz="914400" rtl="0" eaLnBrk="1" latinLnBrk="0" hangingPunct="1">
        <a:spcBef>
          <a:spcPts val="600"/>
        </a:spcBef>
        <a:buClr>
          <a:srgbClr val="003A6F"/>
        </a:buClr>
        <a:buFont typeface="Arial" pitchFamily="34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2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8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4.jpe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D74185D-9062-3147-8BC2-8C48BB25FDF7}"/>
              </a:ext>
            </a:extLst>
          </p:cNvPr>
          <p:cNvSpPr txBox="1">
            <a:spLocks/>
          </p:cNvSpPr>
          <p:nvPr/>
        </p:nvSpPr>
        <p:spPr>
          <a:xfrm>
            <a:off x="376580" y="2852158"/>
            <a:ext cx="4609488" cy="1457731"/>
          </a:xfrm>
          <a:prstGeom prst="rect">
            <a:avLst/>
          </a:prstGeom>
        </p:spPr>
        <p:txBody>
          <a:bodyPr/>
          <a:lstStyle>
            <a:lvl1pPr algn="l" defTabSz="609493" rtl="0" eaLnBrk="1" latinLnBrk="0" hangingPunct="1">
              <a:spcBef>
                <a:spcPct val="0"/>
              </a:spcBef>
              <a:buNone/>
              <a:defRPr sz="2800" b="1" kern="1200" cap="none">
                <a:solidFill>
                  <a:srgbClr val="163143"/>
                </a:solidFill>
                <a:latin typeface="Calibri"/>
                <a:ea typeface="+mj-ea"/>
                <a:cs typeface="Calibri"/>
              </a:defRPr>
            </a:lvl1pPr>
          </a:lstStyle>
          <a:p>
            <a:pPr fontAlgn="auto">
              <a:spcAft>
                <a:spcPts val="0"/>
              </a:spcAft>
            </a:pPr>
            <a:endParaRPr lang="en-AU" sz="1800" dirty="0"/>
          </a:p>
          <a:p>
            <a:pPr fontAlgn="auto">
              <a:spcAft>
                <a:spcPts val="0"/>
              </a:spcAft>
            </a:pPr>
            <a:r>
              <a:rPr lang="en-US" sz="1800" dirty="0"/>
              <a:t>Peter Jandzio,  Mining Engineering Manager      March, 2023</a:t>
            </a:r>
          </a:p>
          <a:p>
            <a:pPr fontAlgn="auto">
              <a:spcAft>
                <a:spcPts val="0"/>
              </a:spcAft>
            </a:pPr>
            <a:endParaRPr lang="en-AU" sz="1800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9781F30-4DBB-7841-AA96-C4862A052FE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3298" t="79410"/>
          <a:stretch/>
        </p:blipFill>
        <p:spPr>
          <a:xfrm>
            <a:off x="476655" y="2852158"/>
            <a:ext cx="4270442" cy="2614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D2E4BFA-C841-8B4F-83EB-A8CD9CC3E337}"/>
              </a:ext>
            </a:extLst>
          </p:cNvPr>
          <p:cNvSpPr txBox="1"/>
          <p:nvPr/>
        </p:nvSpPr>
        <p:spPr>
          <a:xfrm>
            <a:off x="376580" y="1715986"/>
            <a:ext cx="4061575" cy="1329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eaLnBrk="1" fontAlgn="auto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b="1" dirty="0" err="1">
                <a:solidFill>
                  <a:srgbClr val="114865"/>
                </a:solidFill>
                <a:latin typeface="Calibri" panose="020F0502020204030204" pitchFamily="34" charset="0"/>
                <a:ea typeface="Permanent Marker" panose="02000000000000000000" pitchFamily="2" charset="0"/>
                <a:cs typeface="Calibri" panose="020F0502020204030204" pitchFamily="34" charset="0"/>
              </a:rPr>
              <a:t>Wambo</a:t>
            </a:r>
            <a:r>
              <a:rPr lang="en-US" sz="3200" b="1" dirty="0">
                <a:solidFill>
                  <a:srgbClr val="114865"/>
                </a:solidFill>
                <a:latin typeface="Calibri" panose="020F0502020204030204" pitchFamily="34" charset="0"/>
                <a:ea typeface="Permanent Marker" panose="02000000000000000000" pitchFamily="2" charset="0"/>
                <a:cs typeface="Calibri" panose="020F0502020204030204" pitchFamily="34" charset="0"/>
              </a:rPr>
              <a:t>  </a:t>
            </a:r>
          </a:p>
          <a:p>
            <a:pPr defTabSz="457200" eaLnBrk="1" fontAlgn="auto" hangingPunct="1">
              <a:lnSpc>
                <a:spcPts val="32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b="1" dirty="0">
                <a:solidFill>
                  <a:srgbClr val="114865"/>
                </a:solidFill>
                <a:latin typeface="Calibri" panose="020F0502020204030204" pitchFamily="34" charset="0"/>
                <a:ea typeface="Permanent Marker" panose="02000000000000000000" pitchFamily="2" charset="0"/>
                <a:cs typeface="Calibri" panose="020F0502020204030204" pitchFamily="34" charset="0"/>
              </a:rPr>
              <a:t>Respirable Crystalline Silica Dust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C7F1BA1-D689-B24E-051A-C32E140E1279}"/>
              </a:ext>
            </a:extLst>
          </p:cNvPr>
          <p:cNvSpPr txBox="1">
            <a:spLocks/>
          </p:cNvSpPr>
          <p:nvPr/>
        </p:nvSpPr>
        <p:spPr>
          <a:xfrm>
            <a:off x="0" y="2317037"/>
            <a:ext cx="6172200" cy="856680"/>
          </a:xfrm>
          <a:prstGeom prst="rect">
            <a:avLst/>
          </a:prstGeom>
        </p:spPr>
        <p:txBody>
          <a:bodyPr/>
          <a:lstStyle>
            <a:lvl1pPr marL="454025" indent="-339725" algn="l" defTabSz="609493" rtl="0" eaLnBrk="1" latinLnBrk="0" hangingPunct="1">
              <a:spcBef>
                <a:spcPct val="20000"/>
              </a:spcBef>
              <a:buFont typeface="Lucida Grande"/>
              <a:buChar char="●"/>
              <a:defRPr sz="22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1pPr>
            <a:lvl2pPr marL="990427" indent="-380933" algn="l" defTabSz="609493" rtl="0" eaLnBrk="1" latinLnBrk="0" hangingPunct="1">
              <a:spcBef>
                <a:spcPct val="20000"/>
              </a:spcBef>
              <a:buClr>
                <a:srgbClr val="65655B"/>
              </a:buClr>
              <a:buFont typeface="Arial"/>
              <a:buChar char="–"/>
              <a:defRPr sz="18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2pPr>
            <a:lvl3pPr marL="152373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3pPr>
            <a:lvl4pPr marL="2133227" indent="-304747" algn="l" defTabSz="609493" rtl="0" eaLnBrk="1" latinLnBrk="0" hangingPunct="1">
              <a:spcBef>
                <a:spcPct val="20000"/>
              </a:spcBef>
              <a:buFont typeface="Arial"/>
              <a:buChar char="–"/>
              <a:defRPr sz="16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4pPr>
            <a:lvl5pPr marL="2742720" indent="-304747" algn="l" defTabSz="609493" rtl="0" eaLnBrk="1" latinLnBrk="0" hangingPunct="1">
              <a:spcBef>
                <a:spcPct val="20000"/>
              </a:spcBef>
              <a:buFont typeface="Arial"/>
              <a:buChar char="»"/>
              <a:defRPr sz="16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5pPr>
            <a:lvl6pPr marL="335221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Aft>
                <a:spcPts val="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53027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4D7636-3636-4ED6-AFA8-3BD9B64AC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ine Working Section - LW</a:t>
            </a:r>
            <a:endParaRPr lang="en-AU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7F26622-09F8-4AD2-BA04-CD6C9420B400}"/>
              </a:ext>
            </a:extLst>
          </p:cNvPr>
          <p:cNvSpPr/>
          <p:nvPr/>
        </p:nvSpPr>
        <p:spPr>
          <a:xfrm>
            <a:off x="2851380" y="1747222"/>
            <a:ext cx="1047750" cy="1979337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BDF8677-4DA1-4DAB-BDB6-523FC24C6FB8}"/>
              </a:ext>
            </a:extLst>
          </p:cNvPr>
          <p:cNvSpPr/>
          <p:nvPr/>
        </p:nvSpPr>
        <p:spPr>
          <a:xfrm>
            <a:off x="2871797" y="3968775"/>
            <a:ext cx="1047750" cy="2051661"/>
          </a:xfrm>
          <a:prstGeom prst="rect">
            <a:avLst/>
          </a:prstGeom>
          <a:solidFill>
            <a:srgbClr val="0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324BC95-6799-4055-B796-CF09C3CA89A1}"/>
              </a:ext>
            </a:extLst>
          </p:cNvPr>
          <p:cNvSpPr/>
          <p:nvPr/>
        </p:nvSpPr>
        <p:spPr>
          <a:xfrm>
            <a:off x="2863278" y="3748433"/>
            <a:ext cx="1057275" cy="240767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EBB7FFE-D01C-4E91-9E29-DA8C4B1EEC61}"/>
              </a:ext>
            </a:extLst>
          </p:cNvPr>
          <p:cNvSpPr/>
          <p:nvPr/>
        </p:nvSpPr>
        <p:spPr>
          <a:xfrm>
            <a:off x="2851380" y="1318065"/>
            <a:ext cx="1047750" cy="41888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6C5780-0A4C-4E2E-97DC-7863968FAA73}"/>
              </a:ext>
            </a:extLst>
          </p:cNvPr>
          <p:cNvSpPr/>
          <p:nvPr/>
        </p:nvSpPr>
        <p:spPr>
          <a:xfrm>
            <a:off x="2962303" y="2668567"/>
            <a:ext cx="81637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A Ply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91074DD-1079-4455-9453-CBE94C34FC6F}"/>
              </a:ext>
            </a:extLst>
          </p:cNvPr>
          <p:cNvSpPr/>
          <p:nvPr/>
        </p:nvSpPr>
        <p:spPr>
          <a:xfrm>
            <a:off x="2978981" y="3668387"/>
            <a:ext cx="82586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B</a:t>
            </a:r>
            <a:r>
              <a:rPr lang="en-US" sz="2000" b="1" cap="none" spc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Ply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428C31B-D45B-4C7B-A125-41CF13746203}"/>
              </a:ext>
            </a:extLst>
          </p:cNvPr>
          <p:cNvSpPr/>
          <p:nvPr/>
        </p:nvSpPr>
        <p:spPr>
          <a:xfrm>
            <a:off x="2977974" y="4959345"/>
            <a:ext cx="82586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</a:t>
            </a:r>
            <a:r>
              <a:rPr lang="en-US" sz="2000" b="1" cap="none" spc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 Ply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B17F9B-F89A-48C1-BFDF-37E781258046}"/>
              </a:ext>
            </a:extLst>
          </p:cNvPr>
          <p:cNvSpPr/>
          <p:nvPr/>
        </p:nvSpPr>
        <p:spPr>
          <a:xfrm>
            <a:off x="3029533" y="1323696"/>
            <a:ext cx="681918" cy="40011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Roof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2BC769A-7544-403D-96A2-F332FBD3673C}"/>
              </a:ext>
            </a:extLst>
          </p:cNvPr>
          <p:cNvSpPr/>
          <p:nvPr/>
        </p:nvSpPr>
        <p:spPr>
          <a:xfrm>
            <a:off x="986788" y="3678156"/>
            <a:ext cx="1647694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1" cap="none" spc="0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lay Band – 0.3m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684F77F-A816-4A58-AC58-B12752DC437D}"/>
              </a:ext>
            </a:extLst>
          </p:cNvPr>
          <p:cNvSpPr/>
          <p:nvPr/>
        </p:nvSpPr>
        <p:spPr>
          <a:xfrm>
            <a:off x="527843" y="1215429"/>
            <a:ext cx="2277418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sz="1600" b="1" cap="none" spc="0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laystone / Sandstone – </a:t>
            </a:r>
          </a:p>
          <a:p>
            <a:pPr algn="r"/>
            <a:r>
              <a:rPr lang="en-US" sz="1600" b="1" cap="none" spc="0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HARD + ABRASIV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8EA9FC0-3B0D-4807-901E-06286815DBC2}"/>
              </a:ext>
            </a:extLst>
          </p:cNvPr>
          <p:cNvSpPr/>
          <p:nvPr/>
        </p:nvSpPr>
        <p:spPr>
          <a:xfrm>
            <a:off x="1450044" y="4790068"/>
            <a:ext cx="117513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1" cap="none" spc="0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m Approx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1BBE831-C47F-4BE8-B471-0D4B519C08E2}"/>
              </a:ext>
            </a:extLst>
          </p:cNvPr>
          <p:cNvSpPr/>
          <p:nvPr/>
        </p:nvSpPr>
        <p:spPr>
          <a:xfrm>
            <a:off x="622526" y="2566245"/>
            <a:ext cx="2005485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1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0.8</a:t>
            </a:r>
            <a:r>
              <a:rPr lang="en-US" sz="1600" b="1" cap="none" spc="0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m – 1.2m  Approx.</a:t>
            </a:r>
          </a:p>
        </p:txBody>
      </p:sp>
      <p:sp>
        <p:nvSpPr>
          <p:cNvPr id="16" name="Left Brace 15">
            <a:extLst>
              <a:ext uri="{FF2B5EF4-FFF2-40B4-BE49-F238E27FC236}">
                <a16:creationId xmlns:a16="http://schemas.microsoft.com/office/drawing/2014/main" id="{4282D3B4-BAE7-4DA4-8EB2-A1BF2650CE04}"/>
              </a:ext>
            </a:extLst>
          </p:cNvPr>
          <p:cNvSpPr/>
          <p:nvPr/>
        </p:nvSpPr>
        <p:spPr>
          <a:xfrm flipH="1">
            <a:off x="3942868" y="1720126"/>
            <a:ext cx="391106" cy="4296631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90FEE23-1D7A-4464-BDB6-AB3F2CC3C854}"/>
              </a:ext>
            </a:extLst>
          </p:cNvPr>
          <p:cNvSpPr/>
          <p:nvPr/>
        </p:nvSpPr>
        <p:spPr>
          <a:xfrm rot="16200000">
            <a:off x="2790798" y="3693031"/>
            <a:ext cx="348646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Working Section – 2.3m – 2.5m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8A1D452-94C4-449D-AB7A-0982E319EEEB}"/>
              </a:ext>
            </a:extLst>
          </p:cNvPr>
          <p:cNvSpPr/>
          <p:nvPr/>
        </p:nvSpPr>
        <p:spPr>
          <a:xfrm>
            <a:off x="2871797" y="6031336"/>
            <a:ext cx="1047750" cy="41888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0148792-171C-4C3A-B37E-3B7AF57D3644}"/>
              </a:ext>
            </a:extLst>
          </p:cNvPr>
          <p:cNvSpPr/>
          <p:nvPr/>
        </p:nvSpPr>
        <p:spPr>
          <a:xfrm>
            <a:off x="3025265" y="6036967"/>
            <a:ext cx="731290" cy="40011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Floor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ECB71474-DD05-44F0-AF00-29E6423B7981}"/>
              </a:ext>
            </a:extLst>
          </p:cNvPr>
          <p:cNvSpPr/>
          <p:nvPr/>
        </p:nvSpPr>
        <p:spPr>
          <a:xfrm>
            <a:off x="4980710" y="1381572"/>
            <a:ext cx="1727140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1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35.3 – 39.5% silica</a:t>
            </a:r>
            <a:endParaRPr lang="en-US" sz="1600" b="1" cap="none" spc="0">
              <a:ln w="10160">
                <a:noFill/>
                <a:prstDash val="solid"/>
              </a:ln>
              <a:solidFill>
                <a:sysClr val="windowText" lastClr="00000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096EC34-F199-40B0-8361-4E8FB282CF94}"/>
              </a:ext>
            </a:extLst>
          </p:cNvPr>
          <p:cNvSpPr/>
          <p:nvPr/>
        </p:nvSpPr>
        <p:spPr>
          <a:xfrm>
            <a:off x="5032807" y="2682314"/>
            <a:ext cx="1622945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1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5.5 – 17.3% silica</a:t>
            </a:r>
            <a:endParaRPr lang="en-US" sz="1600" b="1" cap="none" spc="0">
              <a:ln w="10160">
                <a:noFill/>
                <a:prstDash val="solid"/>
              </a:ln>
              <a:solidFill>
                <a:sysClr val="windowText" lastClr="00000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9B6E804-423D-4D79-B558-69819FE83091}"/>
              </a:ext>
            </a:extLst>
          </p:cNvPr>
          <p:cNvSpPr/>
          <p:nvPr/>
        </p:nvSpPr>
        <p:spPr>
          <a:xfrm>
            <a:off x="4980710" y="3694315"/>
            <a:ext cx="1727139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1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8.0 – 33.5% silica</a:t>
            </a:r>
            <a:endParaRPr lang="en-US" sz="1600" b="1" cap="none" spc="0">
              <a:ln w="10160">
                <a:noFill/>
                <a:prstDash val="solid"/>
              </a:ln>
              <a:solidFill>
                <a:sysClr val="windowText" lastClr="00000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633E2C6-C54B-4E9E-BE99-AF0D788EDD96}"/>
              </a:ext>
            </a:extLst>
          </p:cNvPr>
          <p:cNvSpPr/>
          <p:nvPr/>
        </p:nvSpPr>
        <p:spPr>
          <a:xfrm>
            <a:off x="5032809" y="4726590"/>
            <a:ext cx="1622945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1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4.0 – 12.1% silica</a:t>
            </a:r>
            <a:endParaRPr lang="en-US" sz="1600" b="1" cap="none" spc="0">
              <a:ln w="10160">
                <a:noFill/>
                <a:prstDash val="solid"/>
              </a:ln>
              <a:solidFill>
                <a:sysClr val="windowText" lastClr="00000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E4CCC8D2-5EB8-4617-AEE8-DCFE742521DB}"/>
              </a:ext>
            </a:extLst>
          </p:cNvPr>
          <p:cNvSpPr/>
          <p:nvPr/>
        </p:nvSpPr>
        <p:spPr>
          <a:xfrm>
            <a:off x="4980709" y="6007058"/>
            <a:ext cx="1727139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600" b="1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11.5 – 32.7% silica</a:t>
            </a:r>
            <a:endParaRPr lang="en-US" sz="1600" b="1" cap="none" spc="0">
              <a:ln w="10160">
                <a:noFill/>
                <a:prstDash val="solid"/>
              </a:ln>
              <a:solidFill>
                <a:sysClr val="windowText" lastClr="000000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66E66AC-9F8A-4C35-B58F-9B4A0A6D2D31}"/>
              </a:ext>
            </a:extLst>
          </p:cNvPr>
          <p:cNvSpPr/>
          <p:nvPr/>
        </p:nvSpPr>
        <p:spPr>
          <a:xfrm>
            <a:off x="1625551" y="6036967"/>
            <a:ext cx="1008931" cy="338554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r"/>
            <a:r>
              <a:rPr lang="en-US" sz="1600" b="1" cap="none" spc="0">
                <a:ln w="10160">
                  <a:noFill/>
                  <a:prstDash val="solid"/>
                </a:ln>
                <a:solidFill>
                  <a:sysClr val="windowText" lastClr="000000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Claystone</a:t>
            </a:r>
          </a:p>
        </p:txBody>
      </p:sp>
    </p:spTree>
    <p:extLst>
      <p:ext uri="{BB962C8B-B14F-4D97-AF65-F5344CB8AC3E}">
        <p14:creationId xmlns:p14="http://schemas.microsoft.com/office/powerpoint/2010/main" val="8120574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D92D75-D7F6-447D-9DC1-93060CB1A7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ology / Structur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7C1C52-9B47-414F-B943-E0A2066714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249" y="1422095"/>
            <a:ext cx="8229600" cy="5021568"/>
          </a:xfrm>
        </p:spPr>
        <p:txBody>
          <a:bodyPr/>
          <a:lstStyle/>
          <a:p>
            <a:r>
              <a:rPr lang="en-US"/>
              <a:t>Highly structured mining area</a:t>
            </a:r>
          </a:p>
          <a:p>
            <a:pPr lvl="1"/>
            <a:r>
              <a:rPr lang="en-US"/>
              <a:t>Highly Variable</a:t>
            </a:r>
          </a:p>
          <a:p>
            <a:pPr lvl="1"/>
            <a:r>
              <a:rPr lang="en-US"/>
              <a:t>Unpredictable</a:t>
            </a:r>
          </a:p>
          <a:p>
            <a:r>
              <a:rPr lang="en-US"/>
              <a:t>Roof and floor is sometimes cut to grade horizon through faults</a:t>
            </a:r>
          </a:p>
          <a:p>
            <a:r>
              <a:rPr lang="en-US"/>
              <a:t>Roof graded into gate roads</a:t>
            </a:r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8BC161-7022-4F37-B932-4FE3AE9024E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89FDC3-40CC-4FD1-A207-12B1B765B042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165BF1B-658F-47CB-9C1C-0BC67E7C7310}"/>
              </a:ext>
            </a:extLst>
          </p:cNvPr>
          <p:cNvSpPr txBox="1">
            <a:spLocks/>
          </p:cNvSpPr>
          <p:nvPr/>
        </p:nvSpPr>
        <p:spPr>
          <a:xfrm>
            <a:off x="600318" y="5847469"/>
            <a:ext cx="8229600" cy="3651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454025" indent="-339725" algn="l" defTabSz="609493" rtl="0" eaLnBrk="1" latinLnBrk="0" hangingPunct="1">
              <a:spcBef>
                <a:spcPct val="20000"/>
              </a:spcBef>
              <a:buClr>
                <a:srgbClr val="005195"/>
              </a:buClr>
              <a:buSzPct val="100000"/>
              <a:buFont typeface="Arial" pitchFamily="34" charset="0"/>
              <a:buChar char="●"/>
              <a:defRPr sz="22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1pPr>
            <a:lvl2pPr marL="990427" indent="-380933" algn="l" defTabSz="609493" rtl="0" eaLnBrk="1" latinLnBrk="0" hangingPunct="1">
              <a:spcBef>
                <a:spcPts val="600"/>
              </a:spcBef>
              <a:buClr>
                <a:srgbClr val="005195"/>
              </a:buClr>
              <a:buFont typeface="Arial"/>
              <a:buChar char="–"/>
              <a:defRPr sz="18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2pPr>
            <a:lvl3pPr marL="1523733" indent="-304747" algn="l" defTabSz="609493" rtl="0" eaLnBrk="1" latinLnBrk="0" hangingPunct="1">
              <a:spcBef>
                <a:spcPct val="20000"/>
              </a:spcBef>
              <a:buClr>
                <a:srgbClr val="005195"/>
              </a:buClr>
              <a:buFont typeface="Arial" pitchFamily="34" charset="0"/>
              <a:buChar char="–"/>
              <a:defRPr sz="18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3pPr>
            <a:lvl4pPr marL="2133227" indent="-304747" algn="l" defTabSz="609493" rtl="0" eaLnBrk="1" latinLnBrk="0" hangingPunct="1">
              <a:spcBef>
                <a:spcPct val="20000"/>
              </a:spcBef>
              <a:buClr>
                <a:srgbClr val="005195"/>
              </a:buClr>
              <a:buFont typeface="Arial"/>
              <a:buChar char="–"/>
              <a:defRPr sz="16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4pPr>
            <a:lvl5pPr marL="2742720" indent="-304747" algn="l" defTabSz="609493" rtl="0" eaLnBrk="1" latinLnBrk="0" hangingPunct="1">
              <a:spcBef>
                <a:spcPct val="20000"/>
              </a:spcBef>
              <a:buClr>
                <a:srgbClr val="005195"/>
              </a:buClr>
              <a:buFont typeface="Arial" pitchFamily="34" charset="0"/>
              <a:buChar char="–"/>
              <a:defRPr sz="1600" kern="1200">
                <a:solidFill>
                  <a:srgbClr val="000000"/>
                </a:solidFill>
                <a:latin typeface="Calibri"/>
                <a:ea typeface="+mn-ea"/>
                <a:cs typeface="Calibri"/>
              </a:defRPr>
            </a:lvl5pPr>
            <a:lvl6pPr marL="335221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1707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200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0693" indent="-304747" algn="l" defTabSz="609493" rtl="0" eaLnBrk="1" latinLnBrk="0" hangingPunct="1">
              <a:spcBef>
                <a:spcPct val="20000"/>
              </a:spcBef>
              <a:buFont typeface="Arial"/>
              <a:buChar char="•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" indent="0" algn="ctr">
              <a:buNone/>
            </a:pPr>
            <a:r>
              <a:rPr lang="en-US" dirty="0"/>
              <a:t>LW22 face mapping – Fault in TG roof stone required to be cut</a:t>
            </a:r>
            <a:endParaRPr lang="en-A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F68811F-9546-4989-688C-0BAE49987BC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401" b="23131"/>
          <a:stretch/>
        </p:blipFill>
        <p:spPr>
          <a:xfrm>
            <a:off x="106726" y="3357648"/>
            <a:ext cx="8930547" cy="2434162"/>
          </a:xfrm>
          <a:prstGeom prst="rect">
            <a:avLst/>
          </a:prstGeom>
          <a:ln>
            <a:solidFill>
              <a:schemeClr val="bg2"/>
            </a:solidFill>
          </a:ln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92871613-ACCB-A4D4-7B4C-D194E51AD168}"/>
              </a:ext>
            </a:extLst>
          </p:cNvPr>
          <p:cNvCxnSpPr>
            <a:cxnSpLocks/>
          </p:cNvCxnSpPr>
          <p:nvPr/>
        </p:nvCxnSpPr>
        <p:spPr>
          <a:xfrm>
            <a:off x="106726" y="4529177"/>
            <a:ext cx="331424" cy="91105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729DD1D-6AFA-8ED3-A6F7-8B4672CD9509}"/>
              </a:ext>
            </a:extLst>
          </p:cNvPr>
          <p:cNvCxnSpPr>
            <a:cxnSpLocks/>
          </p:cNvCxnSpPr>
          <p:nvPr/>
        </p:nvCxnSpPr>
        <p:spPr>
          <a:xfrm>
            <a:off x="438150" y="4641642"/>
            <a:ext cx="1309303" cy="135172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2D3F428-FABD-F254-5F77-1C40CEBD037E}"/>
              </a:ext>
            </a:extLst>
          </p:cNvPr>
          <p:cNvCxnSpPr>
            <a:cxnSpLocks/>
          </p:cNvCxnSpPr>
          <p:nvPr/>
        </p:nvCxnSpPr>
        <p:spPr>
          <a:xfrm flipV="1">
            <a:off x="1682162" y="4461255"/>
            <a:ext cx="1606164" cy="318053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8C4A15CB-3047-256E-C598-F2D8329F05F4}"/>
              </a:ext>
            </a:extLst>
          </p:cNvPr>
          <p:cNvCxnSpPr/>
          <p:nvPr/>
        </p:nvCxnSpPr>
        <p:spPr>
          <a:xfrm>
            <a:off x="3288326" y="4463243"/>
            <a:ext cx="1065474" cy="0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EE8097E-C3EE-B139-C573-F7BC11C12481}"/>
              </a:ext>
            </a:extLst>
          </p:cNvPr>
          <p:cNvCxnSpPr>
            <a:cxnSpLocks/>
          </p:cNvCxnSpPr>
          <p:nvPr/>
        </p:nvCxnSpPr>
        <p:spPr>
          <a:xfrm flipV="1">
            <a:off x="4324947" y="4344205"/>
            <a:ext cx="445276" cy="111318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7EF3395-469F-9C79-09D7-3D6153234E0C}"/>
              </a:ext>
            </a:extLst>
          </p:cNvPr>
          <p:cNvCxnSpPr>
            <a:cxnSpLocks/>
          </p:cNvCxnSpPr>
          <p:nvPr/>
        </p:nvCxnSpPr>
        <p:spPr>
          <a:xfrm flipV="1">
            <a:off x="4770223" y="4311463"/>
            <a:ext cx="544727" cy="32742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A8A48383-266F-FC95-90DE-DAC357474958}"/>
              </a:ext>
            </a:extLst>
          </p:cNvPr>
          <p:cNvCxnSpPr/>
          <p:nvPr/>
        </p:nvCxnSpPr>
        <p:spPr>
          <a:xfrm>
            <a:off x="5314950" y="4311463"/>
            <a:ext cx="1105232" cy="55659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EE3CFAF-4681-C7B1-2590-0577D23488C6}"/>
              </a:ext>
            </a:extLst>
          </p:cNvPr>
          <p:cNvCxnSpPr>
            <a:cxnSpLocks/>
          </p:cNvCxnSpPr>
          <p:nvPr/>
        </p:nvCxnSpPr>
        <p:spPr>
          <a:xfrm>
            <a:off x="6420182" y="4367122"/>
            <a:ext cx="1561768" cy="342106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18C34A24-E177-4A00-28EC-93DDBDFD43E8}"/>
              </a:ext>
            </a:extLst>
          </p:cNvPr>
          <p:cNvCxnSpPr/>
          <p:nvPr/>
        </p:nvCxnSpPr>
        <p:spPr>
          <a:xfrm flipV="1">
            <a:off x="7981950" y="4641642"/>
            <a:ext cx="664126" cy="67586"/>
          </a:xfrm>
          <a:prstGeom prst="line">
            <a:avLst/>
          </a:prstGeom>
          <a:ln>
            <a:solidFill>
              <a:srgbClr val="FFFF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989431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A20CB3-D2B4-40EE-AD65-E99EF85499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xample – Stone roof intrusion LW22</a:t>
            </a:r>
            <a:endParaRPr lang="en-AU"/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410D6BE7-1C6B-4D85-B72E-3B7619981A3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210007" y="1597025"/>
            <a:ext cx="6708111" cy="5022850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7EC47AA-E3C5-4286-AF51-F74EED7A88E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89FDC3-40CC-4FD1-A207-12B1B765B042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31730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237124-F0C2-4B51-BEA7-87F413C82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W Faulting</a:t>
            </a:r>
            <a:endParaRPr lang="en-AU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9124B9-8011-46DB-AC44-E6CCD3B1AE7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489FDC3-40CC-4FD1-A207-12B1B765B042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3BC9A1C-2B51-4AD5-A53D-C025AB39A2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6685" y="1341236"/>
            <a:ext cx="7274727" cy="535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4838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7E5009-CB5F-C754-210B-B4047CBA4C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W Faulting</a:t>
            </a:r>
            <a:endParaRPr lang="en-AU" dirty="0"/>
          </a:p>
        </p:txBody>
      </p:sp>
      <p:pic>
        <p:nvPicPr>
          <p:cNvPr id="6" name="Content Placeholder 5" descr="A picture containing outdoor&#10;&#10;Description automatically generated">
            <a:extLst>
              <a:ext uri="{FF2B5EF4-FFF2-40B4-BE49-F238E27FC236}">
                <a16:creationId xmlns:a16="http://schemas.microsoft.com/office/drawing/2014/main" id="{FA7E210B-4DFD-B996-08CC-674728A8E5C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3837" y="1367073"/>
            <a:ext cx="3985913" cy="2989435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50C0819-BABA-BFF7-D101-4C66CB009BA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18D847-AF05-4FB6-87D5-51AA99421949}" type="slidenum">
              <a:rPr lang="en-US" smtClean="0"/>
              <a:pPr/>
              <a:t>14</a:t>
            </a:fld>
            <a:endParaRPr lang="en-US" dirty="0"/>
          </a:p>
        </p:txBody>
      </p:sp>
      <p:pic>
        <p:nvPicPr>
          <p:cNvPr id="8" name="Picture 7" descr="A picture containing outdoor, old&#10;&#10;Description automatically generated">
            <a:extLst>
              <a:ext uri="{FF2B5EF4-FFF2-40B4-BE49-F238E27FC236}">
                <a16:creationId xmlns:a16="http://schemas.microsoft.com/office/drawing/2014/main" id="{2426EC90-2A95-E659-96D3-3431B574517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4898" y="3211975"/>
            <a:ext cx="4713837" cy="35353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13537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F24B74-4B81-4A9A-8EE8-87C219D00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W Dust Control Improvements / Actions</a:t>
            </a:r>
            <a:endParaRPr lang="en-AU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31209749-D66B-4E3E-9A17-1CFAC1D4EF0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7935" y="1056998"/>
            <a:ext cx="8597834" cy="5579192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b="1" dirty="0"/>
              <a:t>Engineering Controls:</a:t>
            </a:r>
          </a:p>
          <a:p>
            <a:r>
              <a:rPr lang="en-US" dirty="0"/>
              <a:t>Installation of mimic MG DCB – advance 1 + 2 shield from intake side</a:t>
            </a:r>
          </a:p>
          <a:p>
            <a:r>
              <a:rPr lang="en-US" dirty="0"/>
              <a:t>Homotropal ventilation LW23</a:t>
            </a:r>
          </a:p>
          <a:p>
            <a:r>
              <a:rPr lang="en-US" dirty="0"/>
              <a:t>Installation of extra BSL / crusher sprays at entry</a:t>
            </a:r>
          </a:p>
          <a:p>
            <a:r>
              <a:rPr lang="en-US" dirty="0"/>
              <a:t>Installation of pitch steer automation – LW23</a:t>
            </a:r>
          </a:p>
          <a:p>
            <a:r>
              <a:rPr lang="en-US" dirty="0"/>
              <a:t>Ventilation shaft – under construction</a:t>
            </a:r>
          </a:p>
          <a:p>
            <a:r>
              <a:rPr lang="en-US" dirty="0"/>
              <a:t>Cone/fog sprays on AFC/BSL interlace</a:t>
            </a:r>
          </a:p>
          <a:p>
            <a:pPr marL="0" indent="0">
              <a:buNone/>
            </a:pPr>
            <a:endParaRPr lang="en-US" b="1" dirty="0"/>
          </a:p>
          <a:p>
            <a:pPr marL="0" indent="0">
              <a:buNone/>
            </a:pPr>
            <a:r>
              <a:rPr lang="en-US" b="1" dirty="0"/>
              <a:t>Administration/PPE Controls:</a:t>
            </a:r>
          </a:p>
          <a:p>
            <a:r>
              <a:rPr lang="en-US" dirty="0" err="1"/>
              <a:t>Shiftly</a:t>
            </a:r>
            <a:r>
              <a:rPr lang="en-US" dirty="0"/>
              <a:t> dust inspection verification tool</a:t>
            </a:r>
          </a:p>
          <a:p>
            <a:r>
              <a:rPr lang="en-US" dirty="0"/>
              <a:t>Training more LW operators to allow better rotation</a:t>
            </a:r>
          </a:p>
          <a:p>
            <a:r>
              <a:rPr lang="en-US" dirty="0"/>
              <a:t>Trialing different operator rotation techniques</a:t>
            </a:r>
          </a:p>
          <a:p>
            <a:r>
              <a:rPr lang="en-US" dirty="0"/>
              <a:t>Airborne dust TARPs / review of safe standing zones</a:t>
            </a:r>
          </a:p>
          <a:p>
            <a:r>
              <a:rPr lang="en-US" dirty="0"/>
              <a:t>Cutting horizon plans</a:t>
            </a:r>
          </a:p>
          <a:p>
            <a:r>
              <a:rPr lang="en-US" dirty="0"/>
              <a:t>Face mapping</a:t>
            </a:r>
          </a:p>
          <a:p>
            <a:r>
              <a:rPr lang="en-US" dirty="0" err="1"/>
              <a:t>Versaflo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CE1EF0-6D81-489B-BA00-AB31B28D8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EA848A-B8CC-4C15-BD4B-38E3B5AB0A81}" type="slidenum">
              <a:rPr kumimoji="0" lang="en-US" sz="1100" b="1" i="0" u="none" strike="noStrike" kern="1200" cap="none" spc="0" normalizeH="0" baseline="0" noProof="0" smtClean="0">
                <a:ln>
                  <a:noFill/>
                </a:ln>
                <a:solidFill>
                  <a:srgbClr val="0066A4"/>
                </a:solidFill>
                <a:effectLst/>
                <a:uLnTx/>
                <a:uFillTx/>
                <a:latin typeface="Arial" charset="0"/>
                <a:ea typeface="ＭＳ Ｐゴシック" pitchFamily="34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100" b="1" i="0" u="none" strike="noStrike" kern="1200" cap="none" spc="0" normalizeH="0" baseline="0" noProof="0" dirty="0">
              <a:ln>
                <a:noFill/>
              </a:ln>
              <a:solidFill>
                <a:srgbClr val="0066A4"/>
              </a:solidFill>
              <a:effectLst/>
              <a:uLnTx/>
              <a:uFillTx/>
              <a:latin typeface="Arial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10101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LW22 Cutting horizon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368422" y="5495278"/>
            <a:ext cx="8358327" cy="1135765"/>
          </a:xfrm>
        </p:spPr>
        <p:txBody>
          <a:bodyPr>
            <a:normAutofit/>
          </a:bodyPr>
          <a:lstStyle/>
          <a:p>
            <a:pPr marL="0" indent="0">
              <a:lnSpc>
                <a:spcPct val="90000"/>
              </a:lnSpc>
              <a:buNone/>
            </a:pPr>
            <a:endParaRPr lang="en-US" altLang="en-US" dirty="0"/>
          </a:p>
          <a:p>
            <a:pPr>
              <a:lnSpc>
                <a:spcPct val="90000"/>
              </a:lnSpc>
            </a:pP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EA848A-B8CC-4C15-BD4B-38E3B5AB0A81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5AF519D-B33C-4B06-BFE4-A2FBDE9548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2921" y="1175437"/>
            <a:ext cx="3700182" cy="518822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A092F30-C19C-4324-A0F8-A089C372EF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72000" y="1175437"/>
            <a:ext cx="3710608" cy="5188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60462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094B62-101B-44D5-A873-DC853D3AAB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rborne Dust Control Inspection Tool</a:t>
            </a:r>
            <a:endParaRPr lang="en-AU" dirty="0"/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EB5853CC-6E21-1313-5A4A-21E607A9713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31389" y="1440065"/>
            <a:ext cx="5158779" cy="4843057"/>
          </a:xfr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51922B3-D275-1071-40F7-38DDCBD8403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EA848A-B8CC-4C15-BD4B-38E3B5AB0A81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D33945-6B32-EECC-5C51-25E08B7769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2CD72C-D9DB-2BBC-14D8-4414F955A27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9655550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1F24B74-4B81-4A9A-8EE8-87C219D000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rborne dust tools used onsite</a:t>
            </a:r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9CE1EF0-6D81-489B-BA00-AB31B28D8B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EA848A-B8CC-4C15-BD4B-38E3B5AB0A81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9C58AC9-25A5-4990-9FFE-205C5E100B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5AD0FE9-0E48-42AE-851A-64113AD7CD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74183" y="1071343"/>
            <a:ext cx="3100385" cy="171782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6756AB85-CB9B-4939-AA5D-28F78518C9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05787" y="969240"/>
            <a:ext cx="1775251" cy="367368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06E9259E-146D-4CD4-8B4B-07CFB999749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3361" y="4168864"/>
            <a:ext cx="3503765" cy="256556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7D0B76F-AA21-0087-8712-1AA1E60471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6874" y="3207636"/>
            <a:ext cx="5015268" cy="3526795"/>
          </a:xfrm>
          <a:prstGeom prst="rect">
            <a:avLst/>
          </a:prstGeom>
        </p:spPr>
      </p:pic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E31CF29D-0AE5-4EAF-47F2-E5CF74BBD9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1085850"/>
            <a:ext cx="4038600" cy="5040317"/>
          </a:xfrm>
        </p:spPr>
        <p:txBody>
          <a:bodyPr/>
          <a:lstStyle/>
          <a:p>
            <a:r>
              <a:rPr lang="en-US" dirty="0"/>
              <a:t>Air XD</a:t>
            </a:r>
          </a:p>
          <a:p>
            <a:r>
              <a:rPr lang="en-US" dirty="0"/>
              <a:t>AM520i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344448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4461A8-0BD0-9CA8-8C04-7FEE9BF9E2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7238173-EFD4-DC2A-0364-88E3D65AB7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ings we do </a:t>
            </a:r>
            <a:endParaRPr lang="en-A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B94D42-3481-9390-CAB0-FADECDA7299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1600204"/>
            <a:ext cx="8348865" cy="4525963"/>
          </a:xfrm>
        </p:spPr>
        <p:txBody>
          <a:bodyPr>
            <a:normAutofit fontScale="92500"/>
          </a:bodyPr>
          <a:lstStyle/>
          <a:p>
            <a:r>
              <a:rPr lang="en-US" dirty="0"/>
              <a:t>Report each exceedance, Investigate and implement controls</a:t>
            </a:r>
          </a:p>
          <a:p>
            <a:r>
              <a:rPr lang="en-US" dirty="0"/>
              <a:t>Airborne dust committee onsite</a:t>
            </a:r>
          </a:p>
          <a:p>
            <a:r>
              <a:rPr lang="en-US" dirty="0"/>
              <a:t>WHS committee has separate section on airborne dust and results</a:t>
            </a:r>
          </a:p>
          <a:p>
            <a:r>
              <a:rPr lang="en-US" dirty="0"/>
              <a:t>Maintain an airborne dust action log (Longwall, Dev, O/B and whole of mine)</a:t>
            </a:r>
          </a:p>
          <a:p>
            <a:r>
              <a:rPr lang="en-US" dirty="0"/>
              <a:t>Sample and verify changes and additional controls using dust monitors</a:t>
            </a:r>
          </a:p>
          <a:p>
            <a:r>
              <a:rPr lang="en-US" dirty="0"/>
              <a:t>Conduct additional static samples i.e. LW boot end to capture </a:t>
            </a:r>
            <a:r>
              <a:rPr lang="en-US" dirty="0" err="1"/>
              <a:t>outbye</a:t>
            </a:r>
            <a:r>
              <a:rPr lang="en-US" dirty="0"/>
              <a:t> dust when sampling</a:t>
            </a:r>
          </a:p>
          <a:p>
            <a:r>
              <a:rPr lang="en-US" dirty="0"/>
              <a:t>Systematic approach to ensure control effectiveness</a:t>
            </a:r>
          </a:p>
          <a:p>
            <a:r>
              <a:rPr lang="en-US" dirty="0"/>
              <a:t>Communicate to workforce regularly</a:t>
            </a:r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F48386-8D64-A91F-4E00-879143C84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EA848A-B8CC-4C15-BD4B-38E3B5AB0A81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29F6C9-3D36-5395-E3C6-2AE1A00B31F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00117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6"/>
          <p:cNvSpPr txBox="1">
            <a:spLocks/>
          </p:cNvSpPr>
          <p:nvPr/>
        </p:nvSpPr>
        <p:spPr>
          <a:xfrm>
            <a:off x="199675" y="5283657"/>
            <a:ext cx="4466165" cy="2119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900" b="0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615094" y="270394"/>
            <a:ext cx="6770532" cy="800696"/>
          </a:xfrm>
        </p:spPr>
        <p:txBody>
          <a:bodyPr>
            <a:normAutofit/>
          </a:bodyPr>
          <a:lstStyle/>
          <a:p>
            <a:r>
              <a:rPr lang="en-US" sz="2400" dirty="0" err="1">
                <a:latin typeface="Calibri" panose="020F0502020204030204" pitchFamily="34" charset="0"/>
              </a:rPr>
              <a:t>Wambo</a:t>
            </a:r>
            <a:endParaRPr lang="en-US" sz="2400" dirty="0">
              <a:latin typeface="Calibri" panose="020F0502020204030204" pitchFamily="34" charset="0"/>
            </a:endParaRPr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561ACE6C-B8A7-48BD-9E0D-B24EC717693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8041" y="1222861"/>
            <a:ext cx="3285438" cy="37572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/>
          <a:lstStyle/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66A4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Calibri"/>
              </a:rPr>
              <a:t>Wambo is a combined open-cut and underground mine 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66A4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Calibri"/>
              </a:rPr>
              <a:t>Located in the Hunter Valley of New South Wales, Wambo is a well established premium thermal coal mine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66A4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Calibri"/>
              </a:rPr>
              <a:t>Wamb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Calibri"/>
              </a:rPr>
              <a:t> primarily exports to Japan, Korea and China.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66A4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Calibri"/>
              </a:rPr>
              <a:t>In 2022, Wambo complex mined 7.3 million tons of ROM coal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34" charset="-128"/>
              <a:cs typeface="Calibri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rgbClr val="0066A4"/>
              </a:buClr>
              <a:buSzTx/>
              <a:buFont typeface="Arial" pitchFamily="34" charset="0"/>
              <a:buChar char="•"/>
              <a:tabLst/>
              <a:defRPr/>
            </a:pPr>
            <a:r>
              <a:rPr kumimoji="0" lang="en-A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Calibri"/>
              </a:rPr>
              <a:t>Wambo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Calibri"/>
              </a:rPr>
              <a:t> employees</a:t>
            </a:r>
          </a:p>
          <a:p>
            <a:pPr marL="742950" lvl="1" indent="-285750">
              <a:spcBef>
                <a:spcPts val="600"/>
              </a:spcBef>
              <a:buClr>
                <a:srgbClr val="0066A4"/>
              </a:buClr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Calibri"/>
                <a:cs typeface="Calibri"/>
              </a:rPr>
              <a:t>65</a:t>
            </a:r>
            <a:r>
              <a:rPr lang="en-AU" sz="1400" dirty="0">
                <a:solidFill>
                  <a:srgbClr val="000000"/>
                </a:solidFill>
                <a:latin typeface="Calibri"/>
                <a:cs typeface="Calibri"/>
              </a:rPr>
              <a:t> Staff</a:t>
            </a:r>
          </a:p>
          <a:p>
            <a:pPr marL="742950" lvl="1" indent="-285750">
              <a:spcBef>
                <a:spcPts val="600"/>
              </a:spcBef>
              <a:buClr>
                <a:srgbClr val="0066A4"/>
              </a:buClr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Calibri"/>
                <a:cs typeface="Calibri"/>
              </a:rPr>
              <a:t>113</a:t>
            </a:r>
            <a:r>
              <a:rPr kumimoji="0" lang="en-A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Calibri"/>
              </a:rPr>
              <a:t> Workforce</a:t>
            </a:r>
          </a:p>
          <a:p>
            <a:pPr marL="742950" lvl="1" indent="-285750">
              <a:spcBef>
                <a:spcPts val="600"/>
              </a:spcBef>
              <a:buClr>
                <a:srgbClr val="0066A4"/>
              </a:buClr>
              <a:buFont typeface="Arial" pitchFamily="34" charset="0"/>
              <a:buChar char="•"/>
              <a:defRPr/>
            </a:pPr>
            <a:r>
              <a:rPr lang="en-US" sz="1400" dirty="0">
                <a:solidFill>
                  <a:srgbClr val="000000"/>
                </a:solidFill>
                <a:latin typeface="Calibri"/>
                <a:cs typeface="Calibri"/>
              </a:rPr>
              <a:t>4</a:t>
            </a:r>
            <a:r>
              <a:rPr lang="en-AU" sz="1400" dirty="0">
                <a:solidFill>
                  <a:srgbClr val="000000"/>
                </a:solidFill>
                <a:latin typeface="Calibri"/>
                <a:cs typeface="Calibri"/>
              </a:rPr>
              <a:t>52 UWJV</a:t>
            </a:r>
            <a:endParaRPr kumimoji="0" lang="en-A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 pitchFamily="34" charset="-128"/>
              <a:cs typeface="Calibri"/>
            </a:endParaRPr>
          </a:p>
        </p:txBody>
      </p:sp>
      <p:pic>
        <p:nvPicPr>
          <p:cNvPr id="8" name="Picture 3" descr="WAMBO5051.JPG">
            <a:extLst>
              <a:ext uri="{FF2B5EF4-FFF2-40B4-BE49-F238E27FC236}">
                <a16:creationId xmlns:a16="http://schemas.microsoft.com/office/drawing/2014/main" id="{A10FC971-F2DC-4BE6-AF65-0E288D28D656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73051" y="1262900"/>
            <a:ext cx="3762908" cy="252028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2" name="Rounded Rectangle 5">
            <a:extLst>
              <a:ext uri="{FF2B5EF4-FFF2-40B4-BE49-F238E27FC236}">
                <a16:creationId xmlns:a16="http://schemas.microsoft.com/office/drawing/2014/main" id="{FD369AC0-C0FE-44B2-B3B3-6FB1CBD5F654}"/>
              </a:ext>
            </a:extLst>
          </p:cNvPr>
          <p:cNvSpPr/>
          <p:nvPr/>
        </p:nvSpPr>
        <p:spPr>
          <a:xfrm>
            <a:off x="5076274" y="3627605"/>
            <a:ext cx="3657599" cy="311150"/>
          </a:xfrm>
          <a:prstGeom prst="roundRect">
            <a:avLst/>
          </a:prstGeom>
          <a:solidFill>
            <a:schemeClr val="tx2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ambo UG - Longwall</a:t>
            </a:r>
          </a:p>
        </p:txBody>
      </p:sp>
      <p:sp>
        <p:nvSpPr>
          <p:cNvPr id="13" name="Slide Number Placeholder 25">
            <a:extLst>
              <a:ext uri="{FF2B5EF4-FFF2-40B4-BE49-F238E27FC236}">
                <a16:creationId xmlns:a16="http://schemas.microsoft.com/office/drawing/2014/main" id="{2510AC0F-70AC-412D-9E2E-1C17C1362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6870829" y="6454821"/>
            <a:ext cx="2133600" cy="365125"/>
          </a:xfrm>
        </p:spPr>
        <p:txBody>
          <a:bodyPr/>
          <a:lstStyle/>
          <a:p>
            <a:fld id="{25EA848A-B8CC-4C15-BD4B-38E3B5AB0A81}" type="slidenum">
              <a:rPr lang="en-US" smtClean="0">
                <a:latin typeface="Calibri" panose="020F0502020204030204" pitchFamily="34" charset="0"/>
              </a:rPr>
              <a:pPr/>
              <a:t>2</a:t>
            </a:fld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96255AF5-C0D5-2A1F-7380-8F0C0001B4D5}"/>
              </a:ext>
            </a:extLst>
          </p:cNvPr>
          <p:cNvSpPr txBox="1">
            <a:spLocks/>
          </p:cNvSpPr>
          <p:nvPr/>
        </p:nvSpPr>
        <p:spPr>
          <a:xfrm>
            <a:off x="6672046" y="6443811"/>
            <a:ext cx="2133600" cy="365125"/>
          </a:xfr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5EA848A-B8CC-4C15-BD4B-38E3B5AB0A81}" type="slidenum">
              <a:rPr lang="en-US" smtClean="0"/>
              <a:pPr algn="r"/>
              <a:t>2</a:t>
            </a:fld>
            <a:endParaRPr lang="en-US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A7D8FB44-8A3F-FDB5-4E51-95CD010AF43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4191" y="4038599"/>
            <a:ext cx="3762910" cy="257977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ounded Rectangle 6">
            <a:extLst>
              <a:ext uri="{FF2B5EF4-FFF2-40B4-BE49-F238E27FC236}">
                <a16:creationId xmlns:a16="http://schemas.microsoft.com/office/drawing/2014/main" id="{BC3AB99C-0EC6-A449-73EC-DA72E7A54D5C}"/>
              </a:ext>
            </a:extLst>
          </p:cNvPr>
          <p:cNvSpPr/>
          <p:nvPr/>
        </p:nvSpPr>
        <p:spPr>
          <a:xfrm>
            <a:off x="5161780" y="6434912"/>
            <a:ext cx="3612666" cy="311150"/>
          </a:xfrm>
          <a:prstGeom prst="roundRect">
            <a:avLst/>
          </a:prstGeom>
          <a:solidFill>
            <a:schemeClr val="tx2"/>
          </a:solidFill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Wambo Opencut</a:t>
            </a:r>
          </a:p>
        </p:txBody>
      </p:sp>
    </p:spTree>
    <p:extLst>
      <p:ext uri="{BB962C8B-B14F-4D97-AF65-F5344CB8AC3E}">
        <p14:creationId xmlns:p14="http://schemas.microsoft.com/office/powerpoint/2010/main" val="7651583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0143F-56CD-40A7-B16E-68C8C35721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llenges for a Mine Manager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8C1BFA-F151-4ABF-B7F4-AAECF97C82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29419" y="1166018"/>
            <a:ext cx="7020254" cy="5277793"/>
          </a:xfrm>
        </p:spPr>
        <p:txBody>
          <a:bodyPr>
            <a:normAutofit fontScale="85000" lnSpcReduction="20000"/>
          </a:bodyPr>
          <a:lstStyle/>
          <a:p>
            <a:r>
              <a:rPr lang="en-US" sz="2000" dirty="0"/>
              <a:t>People </a:t>
            </a:r>
          </a:p>
          <a:p>
            <a:pPr lvl="1"/>
            <a:r>
              <a:rPr lang="en-US" sz="1800" dirty="0"/>
              <a:t>Getting individuals to care enough about themselves and others about a problem which may occur in the future</a:t>
            </a:r>
          </a:p>
          <a:p>
            <a:pPr lvl="1"/>
            <a:r>
              <a:rPr lang="en-US" sz="1800" dirty="0"/>
              <a:t>Getting supervisors / engineers engaged and to </a:t>
            </a:r>
            <a:r>
              <a:rPr lang="en-US" sz="1800" dirty="0" err="1"/>
              <a:t>prioritise</a:t>
            </a:r>
            <a:r>
              <a:rPr lang="en-US" sz="1800" dirty="0"/>
              <a:t> hazard</a:t>
            </a:r>
          </a:p>
          <a:p>
            <a:pPr lvl="1"/>
            <a:r>
              <a:rPr lang="en-US" sz="1800" dirty="0"/>
              <a:t>She’ll be right mate in some instances / Change </a:t>
            </a:r>
            <a:r>
              <a:rPr lang="en-US" sz="1800" dirty="0" err="1"/>
              <a:t>behaviour</a:t>
            </a:r>
            <a:endParaRPr lang="en-US" sz="1800" dirty="0"/>
          </a:p>
          <a:p>
            <a:pPr lvl="1"/>
            <a:r>
              <a:rPr lang="en-US" sz="1800" dirty="0"/>
              <a:t>“They halved the limit!”</a:t>
            </a:r>
          </a:p>
          <a:p>
            <a:pPr lvl="1"/>
            <a:r>
              <a:rPr lang="en-US" sz="1800" dirty="0"/>
              <a:t>Not a hazard which can easily been seen or immediate impact</a:t>
            </a:r>
          </a:p>
          <a:p>
            <a:pPr lvl="1"/>
            <a:r>
              <a:rPr lang="en-US" sz="1800" dirty="0"/>
              <a:t>Behavior around ‘passing samples’ when people aren’t watching</a:t>
            </a:r>
          </a:p>
          <a:p>
            <a:r>
              <a:rPr lang="en-US" sz="2000" dirty="0"/>
              <a:t>Consultation </a:t>
            </a:r>
          </a:p>
          <a:p>
            <a:pPr lvl="1"/>
            <a:r>
              <a:rPr lang="en-US" sz="1800" dirty="0"/>
              <a:t>So Important, it is a journey</a:t>
            </a:r>
          </a:p>
          <a:p>
            <a:r>
              <a:rPr lang="en-US" sz="2000" dirty="0"/>
              <a:t>Thorough Investigations</a:t>
            </a:r>
          </a:p>
          <a:p>
            <a:pPr lvl="1"/>
            <a:r>
              <a:rPr lang="en-US" sz="1800" dirty="0"/>
              <a:t>Delayed – results / roster / Personnel on leave</a:t>
            </a:r>
          </a:p>
          <a:p>
            <a:pPr lvl="1"/>
            <a:r>
              <a:rPr lang="en-US" sz="1800" dirty="0"/>
              <a:t>Sometimes actions cannot be implemented in time subsequent resample</a:t>
            </a:r>
          </a:p>
          <a:p>
            <a:pPr lvl="1"/>
            <a:r>
              <a:rPr lang="en-US" sz="1800" dirty="0"/>
              <a:t>Not a definitive cause in some instances / multiple causes cannot be isolated</a:t>
            </a:r>
          </a:p>
          <a:p>
            <a:r>
              <a:rPr lang="en-US" sz="2000" dirty="0"/>
              <a:t>Continual Education</a:t>
            </a:r>
          </a:p>
          <a:p>
            <a:pPr lvl="1"/>
            <a:r>
              <a:rPr lang="en-US" sz="1600" dirty="0"/>
              <a:t>Multiple sources for education – Coal Services Technical / Mine Manager / </a:t>
            </a:r>
            <a:r>
              <a:rPr lang="en-US" sz="1600" dirty="0" err="1"/>
              <a:t>Undermanagers</a:t>
            </a:r>
            <a:r>
              <a:rPr lang="en-US" sz="1600" dirty="0"/>
              <a:t> / regulator</a:t>
            </a:r>
          </a:p>
          <a:p>
            <a:r>
              <a:rPr lang="en-US" sz="2000" dirty="0"/>
              <a:t>Systematic approach</a:t>
            </a:r>
          </a:p>
          <a:p>
            <a:r>
              <a:rPr lang="en-US" sz="2000" dirty="0"/>
              <a:t>Striving for ALARP</a:t>
            </a:r>
            <a:endParaRPr lang="en-AU" sz="20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4CBBE5-FB41-4949-896F-B46D6900C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EA848A-B8CC-4C15-BD4B-38E3B5AB0A81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5DE727-A57E-42CC-A6CB-445E9033EB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AU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60A9119-37F9-E344-42AB-094AFA52E2B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9031" y="1720565"/>
            <a:ext cx="1867033" cy="257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6264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00143F-56CD-40A7-B16E-68C8C35721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8C1BFA-F151-4ABF-B7F4-AAECF97C82E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1600200"/>
            <a:ext cx="8285163" cy="4525963"/>
          </a:xfrm>
        </p:spPr>
        <p:txBody>
          <a:bodyPr/>
          <a:lstStyle/>
          <a:p>
            <a:r>
              <a:rPr lang="en-US" dirty="0"/>
              <a:t>Seeing some improvement</a:t>
            </a:r>
          </a:p>
          <a:p>
            <a:pPr lvl="1"/>
            <a:r>
              <a:rPr lang="en-US" dirty="0"/>
              <a:t>Positive results</a:t>
            </a:r>
          </a:p>
          <a:p>
            <a:pPr lvl="1"/>
            <a:r>
              <a:rPr lang="en-US" dirty="0"/>
              <a:t>People's behavior and attitudes towards airborne dust</a:t>
            </a:r>
          </a:p>
          <a:p>
            <a:r>
              <a:rPr lang="en-US" dirty="0"/>
              <a:t>Continual journey</a:t>
            </a:r>
          </a:p>
          <a:p>
            <a:r>
              <a:rPr lang="en-US" dirty="0"/>
              <a:t>No silver bullet – </a:t>
            </a:r>
            <a:r>
              <a:rPr lang="en-US" b="1" dirty="0"/>
              <a:t>ALL </a:t>
            </a:r>
            <a:r>
              <a:rPr lang="en-US" dirty="0"/>
              <a:t>controls need to be working for the lowest exposure</a:t>
            </a:r>
          </a:p>
          <a:p>
            <a:r>
              <a:rPr lang="en-US" dirty="0"/>
              <a:t>It takes an active effort to manage</a:t>
            </a:r>
          </a:p>
          <a:p>
            <a:r>
              <a:rPr lang="en-US" dirty="0"/>
              <a:t>We will continue to strive to lowest exposure possible</a:t>
            </a:r>
            <a:endParaRPr lang="en-AU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A4CBBE5-FB41-4949-896F-B46D6900C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EA848A-B8CC-4C15-BD4B-38E3B5AB0A81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01E131-05E7-4713-887E-52EB8503BE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5DE727-A57E-42CC-A6CB-445E9033EBC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3145080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667A4A-1A52-1D9A-3A86-9481659A0B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Questions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77FF74-6E1D-1430-25D4-7D6F67C005EA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9F51315-663A-8ED4-9CE8-3DA2415A43AF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6BE1F6-FB38-43A3-290B-B1403F1499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EA848A-B8CC-4C15-BD4B-38E3B5AB0A81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9E29DEB-AA2E-1956-374E-D5E610FD77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EA8EB7-BDA9-E2B5-ED90-CABD24547D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6257000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09E9E58-1052-D1BD-142B-AA2F43AD47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39240" y="926326"/>
            <a:ext cx="4718112" cy="5266592"/>
          </a:xfrm>
          <a:prstGeom prst="rect">
            <a:avLst/>
          </a:prstGeom>
        </p:spPr>
      </p:pic>
      <p:sp>
        <p:nvSpPr>
          <p:cNvPr id="16" name="Title 16"/>
          <p:cNvSpPr txBox="1">
            <a:spLocks/>
          </p:cNvSpPr>
          <p:nvPr/>
        </p:nvSpPr>
        <p:spPr>
          <a:xfrm>
            <a:off x="199675" y="5283657"/>
            <a:ext cx="4466165" cy="2119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900" b="0" dirty="0">
              <a:solidFill>
                <a:prstClr val="black"/>
              </a:solidFill>
            </a:endParaRP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353837" y="297017"/>
            <a:ext cx="6770532" cy="800696"/>
          </a:xfrm>
        </p:spPr>
        <p:txBody>
          <a:bodyPr>
            <a:normAutofit/>
          </a:bodyPr>
          <a:lstStyle/>
          <a:p>
            <a:r>
              <a:rPr lang="en-US" sz="2400" dirty="0">
                <a:latin typeface="Calibri" panose="020F0502020204030204" pitchFamily="34" charset="0"/>
              </a:rPr>
              <a:t>Wambo Underground 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1"/>
          </p:nvPr>
        </p:nvSpPr>
        <p:spPr>
          <a:xfrm>
            <a:off x="353837" y="1215063"/>
            <a:ext cx="8376404" cy="462581"/>
          </a:xfrm>
        </p:spPr>
        <p:txBody>
          <a:bodyPr/>
          <a:lstStyle/>
          <a:p>
            <a:r>
              <a:rPr lang="en-US" dirty="0">
                <a:solidFill>
                  <a:srgbClr val="005E30"/>
                </a:solidFill>
                <a:latin typeface="Calibri" panose="020F0502020204030204" pitchFamily="34" charset="0"/>
                <a:ea typeface="ＭＳ Ｐゴシック" pitchFamily="53" charset="-128"/>
              </a:rPr>
              <a:t>Mining History</a:t>
            </a:r>
          </a:p>
        </p:txBody>
      </p:sp>
      <p:sp>
        <p:nvSpPr>
          <p:cNvPr id="26" name="Slide Number Placeholder 2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EA848A-B8CC-4C15-BD4B-38E3B5AB0A81}" type="slidenum">
              <a:rPr lang="en-US" smtClean="0">
                <a:latin typeface="Calibri" panose="020F0502020204030204" pitchFamily="34" charset="0"/>
              </a:rPr>
              <a:pPr/>
              <a:t>3</a:t>
            </a:fld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5DCD7D-8B2D-4439-96C3-1D6F5A18C5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2898" y="3126376"/>
            <a:ext cx="4041622" cy="376750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b="1" dirty="0"/>
              <a:t>Multi Seam UG:</a:t>
            </a:r>
          </a:p>
          <a:p>
            <a:r>
              <a:rPr lang="en-US" sz="1600" dirty="0"/>
              <a:t>Wollemi (Whybrow)</a:t>
            </a:r>
          </a:p>
          <a:p>
            <a:r>
              <a:rPr lang="en-US" sz="1600" dirty="0"/>
              <a:t>Homestead (Whybrow)</a:t>
            </a:r>
          </a:p>
          <a:p>
            <a:r>
              <a:rPr lang="en-US" sz="1600" dirty="0"/>
              <a:t>North Wambo (Wambo)</a:t>
            </a:r>
          </a:p>
          <a:p>
            <a:r>
              <a:rPr lang="en-US" sz="1600" dirty="0"/>
              <a:t>South Bates (Whybrow)</a:t>
            </a:r>
          </a:p>
          <a:p>
            <a:r>
              <a:rPr lang="en-US" sz="1600" dirty="0"/>
              <a:t>South Bates (Wambo)</a:t>
            </a:r>
          </a:p>
          <a:p>
            <a:r>
              <a:rPr lang="en-US" sz="1600" dirty="0"/>
              <a:t>South Bates Extended (Whybrow) </a:t>
            </a:r>
          </a:p>
          <a:p>
            <a:r>
              <a:rPr lang="en-US" sz="1600" dirty="0"/>
              <a:t>United (Glencore) (</a:t>
            </a:r>
            <a:r>
              <a:rPr lang="en-US" sz="1600" dirty="0" err="1"/>
              <a:t>Arrowfield</a:t>
            </a:r>
            <a:r>
              <a:rPr lang="en-US" sz="1600" dirty="0"/>
              <a:t>)</a:t>
            </a:r>
          </a:p>
          <a:p>
            <a:endParaRPr lang="en-US" sz="1600" dirty="0"/>
          </a:p>
          <a:p>
            <a:pPr marL="0" indent="0">
              <a:buNone/>
            </a:pPr>
            <a:r>
              <a:rPr lang="en-US" sz="1600" dirty="0"/>
              <a:t>More challenging mining areas with lower margins (Natural progression) – easy coal taken</a:t>
            </a:r>
          </a:p>
          <a:p>
            <a:endParaRPr lang="en-US" sz="16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5FE5D10-550F-230E-0126-FE58F3F494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7352" y="697365"/>
            <a:ext cx="1420491" cy="5620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6753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287724" y="498614"/>
            <a:ext cx="6709842" cy="505460"/>
          </a:xfrm>
          <a:solidFill>
            <a:srgbClr val="FFFFFF"/>
          </a:solidFill>
        </p:spPr>
        <p:txBody>
          <a:bodyPr lIns="90000" tIns="46800" rIns="90000" bIns="46800" anchor="t">
            <a:noAutofit/>
          </a:bodyPr>
          <a:lstStyle/>
          <a:p>
            <a:pPr>
              <a:defRPr/>
            </a:pPr>
            <a:r>
              <a:rPr lang="en-US" sz="2400" dirty="0"/>
              <a:t>Wambo UG Airborne Dust Results 2022</a:t>
            </a:r>
          </a:p>
        </p:txBody>
      </p:sp>
      <p:graphicFrame>
        <p:nvGraphicFramePr>
          <p:cNvPr id="2" name="Content Placeholder 4">
            <a:extLst>
              <a:ext uri="{FF2B5EF4-FFF2-40B4-BE49-F238E27FC236}">
                <a16:creationId xmlns:a16="http://schemas.microsoft.com/office/drawing/2014/main" id="{CD0B0282-19AE-BF51-5BE1-228417B78CC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14007702"/>
              </p:ext>
            </p:extLst>
          </p:nvPr>
        </p:nvGraphicFramePr>
        <p:xfrm>
          <a:off x="87748" y="1421477"/>
          <a:ext cx="4887375" cy="470134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E6E0F0DE-8F07-70A2-21E1-AE45DA30269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53781" y="1306429"/>
            <a:ext cx="4090219" cy="470134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E5F9427-A085-8934-A78D-BBE35213A34B}"/>
              </a:ext>
            </a:extLst>
          </p:cNvPr>
          <p:cNvSpPr txBox="1"/>
          <p:nvPr/>
        </p:nvSpPr>
        <p:spPr>
          <a:xfrm>
            <a:off x="5955216" y="3124200"/>
            <a:ext cx="2244887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>
                  <a:noFill/>
                </a:ln>
                <a:solidFill>
                  <a:srgbClr val="004673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168</a:t>
            </a:r>
            <a:r>
              <a:rPr kumimoji="0" lang="en-AU" sz="2400" b="1" i="0" u="none" strike="noStrike" kern="1200" cap="none" spc="0" normalizeH="0" baseline="0" noProof="0" dirty="0">
                <a:ln>
                  <a:noFill/>
                </a:ln>
                <a:solidFill>
                  <a:srgbClr val="004673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4673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workers sampl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2400" b="1" i="0" u="none" strike="noStrike" kern="1200" cap="none" spc="0" normalizeH="0" baseline="0" noProof="0" dirty="0">
              <a:ln>
                <a:noFill/>
              </a:ln>
              <a:solidFill>
                <a:srgbClr val="004673"/>
              </a:solidFill>
              <a:effectLst/>
              <a:uLnTx/>
              <a:uFillTx/>
              <a:latin typeface="Arial Nova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3600" b="1" i="0" u="none" strike="noStrike" kern="1200" cap="none" spc="0" normalizeH="0" baseline="0" noProof="0" dirty="0">
                <a:ln>
                  <a:noFill/>
                </a:ln>
                <a:solidFill>
                  <a:srgbClr val="004673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28</a:t>
            </a:r>
            <a:r>
              <a:rPr kumimoji="0" lang="en-AU" sz="2800" b="1" i="0" u="none" strike="noStrike" kern="1200" cap="none" spc="0" normalizeH="0" baseline="0" noProof="0" dirty="0">
                <a:ln>
                  <a:noFill/>
                </a:ln>
                <a:solidFill>
                  <a:srgbClr val="004673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400" b="0" i="0" u="none" strike="noStrike" kern="1200" cap="none" spc="0" normalizeH="0" baseline="0" noProof="0" dirty="0">
                <a:ln>
                  <a:noFill/>
                </a:ln>
                <a:solidFill>
                  <a:srgbClr val="004673"/>
                </a:solidFill>
                <a:effectLst/>
                <a:uLnTx/>
                <a:uFillTx/>
                <a:latin typeface="Arial Nova"/>
                <a:ea typeface="+mn-ea"/>
                <a:cs typeface="+mn-cs"/>
              </a:rPr>
              <a:t>Exceedances</a:t>
            </a:r>
          </a:p>
        </p:txBody>
      </p:sp>
    </p:spTree>
    <p:extLst>
      <p:ext uri="{BB962C8B-B14F-4D97-AF65-F5344CB8AC3E}">
        <p14:creationId xmlns:p14="http://schemas.microsoft.com/office/powerpoint/2010/main" val="2135345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D9BD6F-ABE3-FACF-29D2-329E74B833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Problem</a:t>
            </a:r>
            <a:endParaRPr lang="en-A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6337C3-8E66-4712-0241-959F97D57D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14300" indent="0" algn="ctr">
              <a:buNone/>
            </a:pPr>
            <a:r>
              <a:rPr lang="en-US" sz="2400" b="1" dirty="0"/>
              <a:t>Exposing our workers to unacceptable levels of dust which may cause lung disease later in life impacting their quality of life or life expectancy</a:t>
            </a:r>
          </a:p>
          <a:p>
            <a:endParaRPr lang="en-US" dirty="0"/>
          </a:p>
          <a:p>
            <a:pPr marL="114300" indent="0">
              <a:buNone/>
            </a:pPr>
            <a:endParaRPr lang="en-US" dirty="0"/>
          </a:p>
          <a:p>
            <a:r>
              <a:rPr lang="en-US" dirty="0"/>
              <a:t>Repeated respirable silica samples above 0.05 mg/m</a:t>
            </a:r>
            <a:r>
              <a:rPr lang="en-US" baseline="30000" dirty="0"/>
              <a:t>3</a:t>
            </a:r>
            <a:endParaRPr lang="en-US" dirty="0"/>
          </a:p>
          <a:p>
            <a:r>
              <a:rPr lang="en-US" dirty="0"/>
              <a:t>Multiple failures on resamples</a:t>
            </a:r>
          </a:p>
          <a:p>
            <a:r>
              <a:rPr lang="en-US" dirty="0"/>
              <a:t>Multiple persons failed on single crew</a:t>
            </a:r>
          </a:p>
          <a:p>
            <a:pPr lvl="1"/>
            <a:r>
              <a:rPr lang="en-US" dirty="0"/>
              <a:t>Entire LW crew above limit</a:t>
            </a:r>
          </a:p>
          <a:p>
            <a:r>
              <a:rPr lang="en-US" dirty="0"/>
              <a:t>Under the microscope from regulators and coal services</a:t>
            </a:r>
          </a:p>
          <a:p>
            <a:pPr lvl="1"/>
            <a:r>
              <a:rPr lang="en-US" dirty="0"/>
              <a:t>Interven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3C25CB-476A-F5ED-F141-261DF87EB2E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EA848A-B8CC-4C15-BD4B-38E3B5AB0A8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AABA1CD-C86F-47DA-FDD8-351803F2675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770446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261598" y="370570"/>
            <a:ext cx="6801334" cy="700583"/>
          </a:xfrm>
          <a:solidFill>
            <a:srgbClr val="FFFFFF"/>
          </a:solidFill>
        </p:spPr>
        <p:txBody>
          <a:bodyPr lIns="90000" tIns="46800" rIns="90000" bIns="46800" anchor="t">
            <a:noAutofit/>
          </a:bodyPr>
          <a:lstStyle/>
          <a:p>
            <a:pPr>
              <a:defRPr/>
            </a:pPr>
            <a:r>
              <a:rPr lang="en-US" sz="2400" dirty="0"/>
              <a:t>Wambo UG Airborne Dust Results</a:t>
            </a:r>
            <a:br>
              <a:rPr lang="en-US" sz="2400" dirty="0"/>
            </a:br>
            <a:r>
              <a:rPr lang="en-US" sz="2400" dirty="0"/>
              <a:t>Workers Sampled 2022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1865F4D-925B-44D2-B8D1-C995B5D306E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067" y="1622068"/>
            <a:ext cx="9103866" cy="4754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6594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56715" y="374799"/>
            <a:ext cx="6921599" cy="505460"/>
          </a:xfrm>
          <a:solidFill>
            <a:srgbClr val="FFFFFF"/>
          </a:solidFill>
        </p:spPr>
        <p:txBody>
          <a:bodyPr lIns="90000" tIns="46800" rIns="90000" bIns="46800" anchor="t">
            <a:noAutofit/>
          </a:bodyPr>
          <a:lstStyle/>
          <a:p>
            <a:pPr>
              <a:defRPr/>
            </a:pPr>
            <a:r>
              <a:rPr lang="en-US" sz="2400" dirty="0"/>
              <a:t>Wambo UG Average Respirable Crystalline Silica Longwal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2F08C1E-0C90-CEB6-2D2E-CCB92668CE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715" y="1370060"/>
            <a:ext cx="8931422" cy="53893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07339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305141" y="554009"/>
            <a:ext cx="6709842" cy="505460"/>
          </a:xfrm>
          <a:solidFill>
            <a:srgbClr val="FFFFFF"/>
          </a:solidFill>
        </p:spPr>
        <p:txBody>
          <a:bodyPr lIns="90000" tIns="46800" rIns="90000" bIns="46800" anchor="t">
            <a:noAutofit/>
          </a:bodyPr>
          <a:lstStyle/>
          <a:p>
            <a:pPr>
              <a:defRPr/>
            </a:pPr>
            <a:r>
              <a:rPr lang="en-US" sz="2400" dirty="0"/>
              <a:t>Informat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D1A945-40E9-65B4-355A-95DC8D5E2490}"/>
              </a:ext>
            </a:extLst>
          </p:cNvPr>
          <p:cNvSpPr txBox="1"/>
          <p:nvPr/>
        </p:nvSpPr>
        <p:spPr>
          <a:xfrm>
            <a:off x="426720" y="1242060"/>
            <a:ext cx="8252460" cy="47859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2000" b="0" i="0" dirty="0">
                <a:solidFill>
                  <a:srgbClr val="333333"/>
                </a:solidFill>
                <a:effectLst/>
                <a:latin typeface="+mn-lt"/>
              </a:rPr>
              <a:t>Based on </a:t>
            </a:r>
            <a:r>
              <a:rPr lang="en-US" sz="2000" dirty="0">
                <a:solidFill>
                  <a:srgbClr val="333333"/>
                </a:solidFill>
                <a:latin typeface="+mn-lt"/>
              </a:rPr>
              <a:t>2022 data</a:t>
            </a:r>
            <a:r>
              <a:rPr lang="en-US" sz="2000" b="0" i="0" dirty="0">
                <a:solidFill>
                  <a:srgbClr val="333333"/>
                </a:solidFill>
                <a:effectLst/>
                <a:latin typeface="+mn-lt"/>
              </a:rPr>
              <a:t>, Recently we have a history of cutting a significant amount of stone</a:t>
            </a:r>
          </a:p>
          <a:p>
            <a:pPr algn="l"/>
            <a:endParaRPr lang="en-US" sz="2000" b="0" i="0" dirty="0">
              <a:solidFill>
                <a:srgbClr val="333333"/>
              </a:solidFill>
              <a:effectLst/>
              <a:latin typeface="+mn-lt"/>
            </a:endParaRPr>
          </a:p>
          <a:p>
            <a:pPr algn="l"/>
            <a:r>
              <a:rPr lang="en-US" sz="2000" b="0" i="0" dirty="0">
                <a:solidFill>
                  <a:srgbClr val="333333"/>
                </a:solidFill>
                <a:effectLst/>
                <a:latin typeface="+mn-lt"/>
              </a:rPr>
              <a:t>Increased exposures to crystalline silica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33333"/>
                </a:solidFill>
                <a:latin typeface="+mn-lt"/>
              </a:rPr>
              <a:t>Decreasing seam thickness</a:t>
            </a:r>
            <a:endParaRPr lang="en-US" sz="2000" b="0" i="0" dirty="0">
              <a:solidFill>
                <a:srgbClr val="333333"/>
              </a:solidFill>
              <a:effectLst/>
              <a:latin typeface="+mn-lt"/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  <a:latin typeface="+mn-lt"/>
              </a:rPr>
              <a:t>Cutting of stone and clay band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  <a:latin typeface="+mn-lt"/>
              </a:rPr>
              <a:t>Stone on the AFC/BSL/Crusher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  <a:latin typeface="+mn-lt"/>
              </a:rPr>
              <a:t>Stone intrusions and faulting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  <a:latin typeface="+mn-lt"/>
              </a:rPr>
              <a:t>Driving stone roadways – belt chambers &amp; overcast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  <a:latin typeface="+mn-lt"/>
              </a:rPr>
              <a:t>Loading out while cutting ston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  <a:latin typeface="+mn-lt"/>
              </a:rPr>
              <a:t>Handling dry cement-based product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33333"/>
                </a:solidFill>
                <a:latin typeface="+mn-lt"/>
              </a:rPr>
              <a:t>Roadway dus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b="0" i="0" dirty="0">
                <a:solidFill>
                  <a:srgbClr val="333333"/>
                </a:solidFill>
                <a:effectLst/>
                <a:latin typeface="+mn-lt"/>
              </a:rPr>
              <a:t>Float dus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333333"/>
                </a:solidFill>
                <a:latin typeface="+mn-lt"/>
              </a:rPr>
              <a:t>Transfer points</a:t>
            </a:r>
            <a:endParaRPr lang="en-US" sz="2000" b="0" i="0" dirty="0">
              <a:solidFill>
                <a:srgbClr val="333333"/>
              </a:solidFill>
              <a:effectLst/>
              <a:latin typeface="+mn-lt"/>
            </a:endParaRPr>
          </a:p>
          <a:p>
            <a:pPr>
              <a:spcBef>
                <a:spcPts val="600"/>
              </a:spcBef>
            </a:pPr>
            <a:endParaRPr lang="en-AU" sz="2000" dirty="0"/>
          </a:p>
        </p:txBody>
      </p:sp>
    </p:spTree>
    <p:extLst>
      <p:ext uri="{BB962C8B-B14F-4D97-AF65-F5344CB8AC3E}">
        <p14:creationId xmlns:p14="http://schemas.microsoft.com/office/powerpoint/2010/main" val="10153957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AE8217-59D2-4553-BA84-30ED2DEE33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2FD1C97-7856-44DE-9E6B-B204C8A276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Seam thickness / Dates of mining / Structur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32B3625-9BB9-BA17-6903-57078187D9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15317" y="886382"/>
            <a:ext cx="7974623" cy="578237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820ED38-6571-56EC-5E1A-851A38CFF06A}"/>
              </a:ext>
            </a:extLst>
          </p:cNvPr>
          <p:cNvSpPr/>
          <p:nvPr/>
        </p:nvSpPr>
        <p:spPr>
          <a:xfrm>
            <a:off x="5077659" y="1813554"/>
            <a:ext cx="109517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.1-2.3m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588103C-0160-5AC0-A2B6-426B417C1F12}"/>
              </a:ext>
            </a:extLst>
          </p:cNvPr>
          <p:cNvSpPr/>
          <p:nvPr/>
        </p:nvSpPr>
        <p:spPr>
          <a:xfrm>
            <a:off x="6635931" y="1791835"/>
            <a:ext cx="109517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.3-2.6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C63EFB5-74ED-F6D2-ED67-92256180E38E}"/>
              </a:ext>
            </a:extLst>
          </p:cNvPr>
          <p:cNvSpPr/>
          <p:nvPr/>
        </p:nvSpPr>
        <p:spPr>
          <a:xfrm>
            <a:off x="7829034" y="1750808"/>
            <a:ext cx="109517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.6-2.9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8723EAB-CC47-8E12-A168-9B4F17C8121B}"/>
              </a:ext>
            </a:extLst>
          </p:cNvPr>
          <p:cNvSpPr/>
          <p:nvPr/>
        </p:nvSpPr>
        <p:spPr>
          <a:xfrm>
            <a:off x="2341141" y="1884741"/>
            <a:ext cx="115929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.6 -3.2m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4ABABB48-CA97-4247-ABE3-8390F8D01EAA}"/>
              </a:ext>
            </a:extLst>
          </p:cNvPr>
          <p:cNvCxnSpPr/>
          <p:nvPr/>
        </p:nvCxnSpPr>
        <p:spPr>
          <a:xfrm>
            <a:off x="4702629" y="2207345"/>
            <a:ext cx="1933302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62068089-5C36-F8F5-2F12-0F1966AD6333}"/>
              </a:ext>
            </a:extLst>
          </p:cNvPr>
          <p:cNvCxnSpPr>
            <a:cxnSpLocks/>
          </p:cNvCxnSpPr>
          <p:nvPr/>
        </p:nvCxnSpPr>
        <p:spPr>
          <a:xfrm>
            <a:off x="6545532" y="2120140"/>
            <a:ext cx="1266057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C9292184-F806-C89A-1329-3F9EF0A45BD1}"/>
              </a:ext>
            </a:extLst>
          </p:cNvPr>
          <p:cNvCxnSpPr>
            <a:cxnSpLocks/>
          </p:cNvCxnSpPr>
          <p:nvPr/>
        </p:nvCxnSpPr>
        <p:spPr>
          <a:xfrm>
            <a:off x="7782642" y="2120140"/>
            <a:ext cx="1266057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FFBB7EB4-C6D2-C230-BAAE-9D02FBB61A7F}"/>
              </a:ext>
            </a:extLst>
          </p:cNvPr>
          <p:cNvCxnSpPr/>
          <p:nvPr/>
        </p:nvCxnSpPr>
        <p:spPr>
          <a:xfrm>
            <a:off x="1649294" y="2224484"/>
            <a:ext cx="1933302" cy="0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2CE0F541-1332-091F-7533-1B9AACE94887}"/>
              </a:ext>
            </a:extLst>
          </p:cNvPr>
          <p:cNvCxnSpPr>
            <a:cxnSpLocks/>
          </p:cNvCxnSpPr>
          <p:nvPr/>
        </p:nvCxnSpPr>
        <p:spPr>
          <a:xfrm flipV="1">
            <a:off x="3605349" y="2207345"/>
            <a:ext cx="1097280" cy="17139"/>
          </a:xfrm>
          <a:prstGeom prst="straightConnector1">
            <a:avLst/>
          </a:prstGeom>
          <a:ln w="28575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9719A0E2-95AF-C688-0954-06A380202138}"/>
              </a:ext>
            </a:extLst>
          </p:cNvPr>
          <p:cNvSpPr/>
          <p:nvPr/>
        </p:nvSpPr>
        <p:spPr>
          <a:xfrm>
            <a:off x="3644692" y="1828666"/>
            <a:ext cx="1095173" cy="369332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18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.3-2.5m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524154B-126D-1D0B-AFBB-D5ABD46C029B}"/>
              </a:ext>
            </a:extLst>
          </p:cNvPr>
          <p:cNvSpPr/>
          <p:nvPr/>
        </p:nvSpPr>
        <p:spPr>
          <a:xfrm rot="19311394">
            <a:off x="7699906" y="3792379"/>
            <a:ext cx="98616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018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A829F99-94D4-8EAB-5B06-FD9BF4F1FB6A}"/>
              </a:ext>
            </a:extLst>
          </p:cNvPr>
          <p:cNvSpPr/>
          <p:nvPr/>
        </p:nvSpPr>
        <p:spPr>
          <a:xfrm rot="19311394">
            <a:off x="4607927" y="3943843"/>
            <a:ext cx="986167" cy="52322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b="1" cap="none" spc="0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</a:rPr>
              <a:t>2022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6A178508-6973-E7FE-58F4-760BFCC568B0}"/>
              </a:ext>
            </a:extLst>
          </p:cNvPr>
          <p:cNvCxnSpPr/>
          <p:nvPr/>
        </p:nvCxnSpPr>
        <p:spPr>
          <a:xfrm flipH="1">
            <a:off x="5445247" y="4266490"/>
            <a:ext cx="2198369" cy="0"/>
          </a:xfrm>
          <a:prstGeom prst="straightConnector1">
            <a:avLst/>
          </a:prstGeom>
          <a:ln w="38100">
            <a:solidFill>
              <a:schemeClr val="accent6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8347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ustom Design">
  <a:themeElements>
    <a:clrScheme name="Peabody 201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3A6F"/>
      </a:accent1>
      <a:accent2>
        <a:srgbClr val="8B0E04"/>
      </a:accent2>
      <a:accent3>
        <a:srgbClr val="006325"/>
      </a:accent3>
      <a:accent4>
        <a:srgbClr val="E7A614"/>
      </a:accent4>
      <a:accent5>
        <a:srgbClr val="953735"/>
      </a:accent5>
      <a:accent6>
        <a:srgbClr val="10253F"/>
      </a:accent6>
      <a:hlink>
        <a:srgbClr val="CC3300"/>
      </a:hlink>
      <a:folHlink>
        <a:srgbClr val="4E6228"/>
      </a:folHlink>
    </a:clrScheme>
    <a:fontScheme name="Peabod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Peabody 2013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3A6F"/>
      </a:accent1>
      <a:accent2>
        <a:srgbClr val="8B0E04"/>
      </a:accent2>
      <a:accent3>
        <a:srgbClr val="006325"/>
      </a:accent3>
      <a:accent4>
        <a:srgbClr val="E7A614"/>
      </a:accent4>
      <a:accent5>
        <a:srgbClr val="953735"/>
      </a:accent5>
      <a:accent6>
        <a:srgbClr val="10253F"/>
      </a:accent6>
      <a:hlink>
        <a:srgbClr val="CC3300"/>
      </a:hlink>
      <a:folHlink>
        <a:srgbClr val="4E6228"/>
      </a:folHlink>
    </a:clrScheme>
    <a:fontScheme name="Peabody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017_Peabody_color_palette">
  <a:themeElements>
    <a:clrScheme name="Peabody colors">
      <a:dk1>
        <a:srgbClr val="999B9D"/>
      </a:dk1>
      <a:lt1>
        <a:srgbClr val="FFFFFF"/>
      </a:lt1>
      <a:dk2>
        <a:srgbClr val="010203"/>
      </a:dk2>
      <a:lt2>
        <a:srgbClr val="552C2A"/>
      </a:lt2>
      <a:accent1>
        <a:srgbClr val="0066A4"/>
      </a:accent1>
      <a:accent2>
        <a:srgbClr val="0D3C55"/>
      </a:accent2>
      <a:accent3>
        <a:srgbClr val="BF552D"/>
      </a:accent3>
      <a:accent4>
        <a:srgbClr val="D29B27"/>
      </a:accent4>
      <a:accent5>
        <a:srgbClr val="4B9295"/>
      </a:accent5>
      <a:accent6>
        <a:srgbClr val="406244"/>
      </a:accent6>
      <a:hlink>
        <a:srgbClr val="C9C38B"/>
      </a:hlink>
      <a:folHlink>
        <a:srgbClr val="5C497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2017_Peabody_color_palette">
  <a:themeElements>
    <a:clrScheme name="Peabody colors">
      <a:dk1>
        <a:srgbClr val="999B9D"/>
      </a:dk1>
      <a:lt1>
        <a:srgbClr val="FFFFFF"/>
      </a:lt1>
      <a:dk2>
        <a:srgbClr val="010203"/>
      </a:dk2>
      <a:lt2>
        <a:srgbClr val="552C2A"/>
      </a:lt2>
      <a:accent1>
        <a:srgbClr val="0066A4"/>
      </a:accent1>
      <a:accent2>
        <a:srgbClr val="0D3C55"/>
      </a:accent2>
      <a:accent3>
        <a:srgbClr val="BF552D"/>
      </a:accent3>
      <a:accent4>
        <a:srgbClr val="D29B27"/>
      </a:accent4>
      <a:accent5>
        <a:srgbClr val="4B9295"/>
      </a:accent5>
      <a:accent6>
        <a:srgbClr val="406244"/>
      </a:accent6>
      <a:hlink>
        <a:srgbClr val="C9C38B"/>
      </a:hlink>
      <a:folHlink>
        <a:srgbClr val="5C4976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2_Custom Design">
  <a:themeElements>
    <a:clrScheme name="Custom 1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0066A3"/>
      </a:accent1>
      <a:accent2>
        <a:srgbClr val="8B0E04"/>
      </a:accent2>
      <a:accent3>
        <a:srgbClr val="006325"/>
      </a:accent3>
      <a:accent4>
        <a:srgbClr val="E7A614"/>
      </a:accent4>
      <a:accent5>
        <a:srgbClr val="10253F"/>
      </a:accent5>
      <a:accent6>
        <a:srgbClr val="CC3300"/>
      </a:accent6>
      <a:hlink>
        <a:srgbClr val="003A6F"/>
      </a:hlink>
      <a:folHlink>
        <a:srgbClr val="006325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853</Words>
  <Application>Microsoft Office PowerPoint</Application>
  <PresentationFormat>On-screen Show (4:3)</PresentationFormat>
  <Paragraphs>187</Paragraphs>
  <Slides>2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2" baseType="lpstr">
      <vt:lpstr>Arial</vt:lpstr>
      <vt:lpstr>Arial Nova</vt:lpstr>
      <vt:lpstr>Calibri</vt:lpstr>
      <vt:lpstr>Lucida Grande</vt:lpstr>
      <vt:lpstr>1_Custom Design</vt:lpstr>
      <vt:lpstr>Custom Design</vt:lpstr>
      <vt:lpstr>2017_Peabody_color_palette</vt:lpstr>
      <vt:lpstr>2_2017_Peabody_color_palette</vt:lpstr>
      <vt:lpstr>2_Custom Design</vt:lpstr>
      <vt:lpstr>think-cell Slide</vt:lpstr>
      <vt:lpstr>PowerPoint Presentation</vt:lpstr>
      <vt:lpstr>Wambo</vt:lpstr>
      <vt:lpstr>Wambo Underground </vt:lpstr>
      <vt:lpstr>Wambo UG Airborne Dust Results 2022</vt:lpstr>
      <vt:lpstr>The Problem</vt:lpstr>
      <vt:lpstr>Wambo UG Airborne Dust Results Workers Sampled 2022</vt:lpstr>
      <vt:lpstr>Wambo UG Average Respirable Crystalline Silica Longwall</vt:lpstr>
      <vt:lpstr>Information</vt:lpstr>
      <vt:lpstr>Seam thickness / Dates of mining / Structure</vt:lpstr>
      <vt:lpstr>Mine Working Section - LW</vt:lpstr>
      <vt:lpstr>Geology / Structure</vt:lpstr>
      <vt:lpstr>Example – Stone roof intrusion LW22</vt:lpstr>
      <vt:lpstr>LW Faulting</vt:lpstr>
      <vt:lpstr>LW Faulting</vt:lpstr>
      <vt:lpstr>LW Dust Control Improvements / Actions</vt:lpstr>
      <vt:lpstr>LW22 Cutting horizon</vt:lpstr>
      <vt:lpstr>Airborne Dust Control Inspection Tool</vt:lpstr>
      <vt:lpstr>Airborne dust tools used onsite</vt:lpstr>
      <vt:lpstr>Things we do </vt:lpstr>
      <vt:lpstr>Challenges for a Mine Manager</vt:lpstr>
      <vt:lpstr>Summary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/>
  <cp:lastModifiedBy/>
  <cp:revision>2118</cp:revision>
  <dcterms:created xsi:type="dcterms:W3CDTF">2011-03-28T17:04:07Z</dcterms:created>
  <dcterms:modified xsi:type="dcterms:W3CDTF">2023-03-17T04:40:22Z</dcterms:modified>
</cp:coreProperties>
</file>